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2"/>
  </p:notesMasterIdLst>
  <p:handoutMasterIdLst>
    <p:handoutMasterId r:id="rId23"/>
  </p:handoutMasterIdLst>
  <p:sldIdLst>
    <p:sldId id="2146846670" r:id="rId5"/>
    <p:sldId id="259" r:id="rId6"/>
    <p:sldId id="2146846828" r:id="rId7"/>
    <p:sldId id="2146846818" r:id="rId8"/>
    <p:sldId id="2146846823" r:id="rId9"/>
    <p:sldId id="3039" r:id="rId10"/>
    <p:sldId id="2146846829" r:id="rId11"/>
    <p:sldId id="2146846832" r:id="rId12"/>
    <p:sldId id="2146846833" r:id="rId13"/>
    <p:sldId id="2146846830" r:id="rId14"/>
    <p:sldId id="2146846834" r:id="rId15"/>
    <p:sldId id="2146846835" r:id="rId16"/>
    <p:sldId id="2146846836" r:id="rId17"/>
    <p:sldId id="2146846837" r:id="rId18"/>
    <p:sldId id="2146846831" r:id="rId19"/>
    <p:sldId id="2146846838" r:id="rId20"/>
    <p:sldId id="2146845541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C89D0D8-5D12-438D-8AAD-E87131B2D16A}">
          <p14:sldIdLst>
            <p14:sldId id="2146846670"/>
            <p14:sldId id="259"/>
            <p14:sldId id="2146846828"/>
            <p14:sldId id="2146846818"/>
            <p14:sldId id="2146846823"/>
            <p14:sldId id="3039"/>
            <p14:sldId id="2146846829"/>
            <p14:sldId id="2146846832"/>
            <p14:sldId id="2146846833"/>
            <p14:sldId id="2146846830"/>
            <p14:sldId id="2146846834"/>
            <p14:sldId id="2146846835"/>
            <p14:sldId id="2146846836"/>
            <p14:sldId id="2146846837"/>
            <p14:sldId id="2146846831"/>
            <p14:sldId id="2146846838"/>
            <p14:sldId id="214684554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F2F4"/>
    <a:srgbClr val="304C82"/>
    <a:srgbClr val="EBEBEB"/>
    <a:srgbClr val="E2C2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AFF1C1-B16F-4CE6-8E89-D25D240F48A6}" v="4" dt="2024-09-27T10:47:44.71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ng, Yuanchen, Klein" userId="0bb01eae-e1bc-4ea1-962b-0b5342bffbe9" providerId="ADAL" clId="{E5AFF1C1-B16F-4CE6-8E89-D25D240F48A6}"/>
    <pc:docChg chg="undo custSel modSld">
      <pc:chgData name="Wang, Yuanchen, Klein" userId="0bb01eae-e1bc-4ea1-962b-0b5342bffbe9" providerId="ADAL" clId="{E5AFF1C1-B16F-4CE6-8E89-D25D240F48A6}" dt="2024-09-27T10:47:44.713" v="202"/>
      <pc:docMkLst>
        <pc:docMk/>
      </pc:docMkLst>
      <pc:sldChg chg="modSp mod">
        <pc:chgData name="Wang, Yuanchen, Klein" userId="0bb01eae-e1bc-4ea1-962b-0b5342bffbe9" providerId="ADAL" clId="{E5AFF1C1-B16F-4CE6-8E89-D25D240F48A6}" dt="2024-09-27T10:40:22.382" v="4" actId="20577"/>
        <pc:sldMkLst>
          <pc:docMk/>
          <pc:sldMk cId="3616701063" sldId="3039"/>
        </pc:sldMkLst>
        <pc:spChg chg="mod">
          <ac:chgData name="Wang, Yuanchen, Klein" userId="0bb01eae-e1bc-4ea1-962b-0b5342bffbe9" providerId="ADAL" clId="{E5AFF1C1-B16F-4CE6-8E89-D25D240F48A6}" dt="2024-09-27T10:40:16.353" v="1" actId="1076"/>
          <ac:spMkLst>
            <pc:docMk/>
            <pc:sldMk cId="3616701063" sldId="3039"/>
            <ac:spMk id="18" creationId="{FCD04C1B-C018-4146-8901-3D80B86E5113}"/>
          </ac:spMkLst>
        </pc:spChg>
        <pc:spChg chg="mod">
          <ac:chgData name="Wang, Yuanchen, Klein" userId="0bb01eae-e1bc-4ea1-962b-0b5342bffbe9" providerId="ADAL" clId="{E5AFF1C1-B16F-4CE6-8E89-D25D240F48A6}" dt="2024-09-27T10:40:22.382" v="4" actId="20577"/>
          <ac:spMkLst>
            <pc:docMk/>
            <pc:sldMk cId="3616701063" sldId="3039"/>
            <ac:spMk id="114" creationId="{E8C45494-200A-49A1-AC32-071035F87E51}"/>
          </ac:spMkLst>
        </pc:spChg>
        <pc:picChg chg="mod">
          <ac:chgData name="Wang, Yuanchen, Klein" userId="0bb01eae-e1bc-4ea1-962b-0b5342bffbe9" providerId="ADAL" clId="{E5AFF1C1-B16F-4CE6-8E89-D25D240F48A6}" dt="2024-09-27T10:40:13.372" v="0" actId="14100"/>
          <ac:picMkLst>
            <pc:docMk/>
            <pc:sldMk cId="3616701063" sldId="3039"/>
            <ac:picMk id="6" creationId="{86441187-3A18-5AF9-1E41-F4122C293CB3}"/>
          </ac:picMkLst>
        </pc:picChg>
      </pc:sldChg>
      <pc:sldChg chg="modSp mod">
        <pc:chgData name="Wang, Yuanchen, Klein" userId="0bb01eae-e1bc-4ea1-962b-0b5342bffbe9" providerId="ADAL" clId="{E5AFF1C1-B16F-4CE6-8E89-D25D240F48A6}" dt="2024-09-27T10:43:07.879" v="16" actId="20577"/>
        <pc:sldMkLst>
          <pc:docMk/>
          <pc:sldMk cId="40169735" sldId="2146846818"/>
        </pc:sldMkLst>
        <pc:graphicFrameChg chg="modGraphic">
          <ac:chgData name="Wang, Yuanchen, Klein" userId="0bb01eae-e1bc-4ea1-962b-0b5342bffbe9" providerId="ADAL" clId="{E5AFF1C1-B16F-4CE6-8E89-D25D240F48A6}" dt="2024-09-27T10:43:07.879" v="16" actId="20577"/>
          <ac:graphicFrameMkLst>
            <pc:docMk/>
            <pc:sldMk cId="40169735" sldId="2146846818"/>
            <ac:graphicFrameMk id="3" creationId="{F49C8509-855D-40FF-A796-68AECE8020FB}"/>
          </ac:graphicFrameMkLst>
        </pc:graphicFrameChg>
      </pc:sldChg>
      <pc:sldChg chg="addSp delSp modSp mod">
        <pc:chgData name="Wang, Yuanchen, Klein" userId="0bb01eae-e1bc-4ea1-962b-0b5342bffbe9" providerId="ADAL" clId="{E5AFF1C1-B16F-4CE6-8E89-D25D240F48A6}" dt="2024-09-27T10:47:44.713" v="202"/>
        <pc:sldMkLst>
          <pc:docMk/>
          <pc:sldMk cId="2757892316" sldId="2146846832"/>
        </pc:sldMkLst>
        <pc:spChg chg="mod">
          <ac:chgData name="Wang, Yuanchen, Klein" userId="0bb01eae-e1bc-4ea1-962b-0b5342bffbe9" providerId="ADAL" clId="{E5AFF1C1-B16F-4CE6-8E89-D25D240F48A6}" dt="2024-09-27T10:47:18.684" v="196" actId="164"/>
          <ac:spMkLst>
            <pc:docMk/>
            <pc:sldMk cId="2757892316" sldId="2146846832"/>
            <ac:spMk id="7" creationId="{38ED3F5E-B5B0-50F7-64EF-0D5CFF58F418}"/>
          </ac:spMkLst>
        </pc:spChg>
        <pc:spChg chg="mod">
          <ac:chgData name="Wang, Yuanchen, Klein" userId="0bb01eae-e1bc-4ea1-962b-0b5342bffbe9" providerId="ADAL" clId="{E5AFF1C1-B16F-4CE6-8E89-D25D240F48A6}" dt="2024-09-27T10:47:18.684" v="196" actId="164"/>
          <ac:spMkLst>
            <pc:docMk/>
            <pc:sldMk cId="2757892316" sldId="2146846832"/>
            <ac:spMk id="8" creationId="{BDE3456D-D65C-ECD8-6C3D-5905A78D849D}"/>
          </ac:spMkLst>
        </pc:spChg>
        <pc:spChg chg="mod">
          <ac:chgData name="Wang, Yuanchen, Klein" userId="0bb01eae-e1bc-4ea1-962b-0b5342bffbe9" providerId="ADAL" clId="{E5AFF1C1-B16F-4CE6-8E89-D25D240F48A6}" dt="2024-09-27T10:47:18.684" v="196" actId="164"/>
          <ac:spMkLst>
            <pc:docMk/>
            <pc:sldMk cId="2757892316" sldId="2146846832"/>
            <ac:spMk id="9" creationId="{076E59F0-3E85-B72D-7BF9-A4F215D6D8C6}"/>
          </ac:spMkLst>
        </pc:spChg>
        <pc:spChg chg="mod">
          <ac:chgData name="Wang, Yuanchen, Klein" userId="0bb01eae-e1bc-4ea1-962b-0b5342bffbe9" providerId="ADAL" clId="{E5AFF1C1-B16F-4CE6-8E89-D25D240F48A6}" dt="2024-09-27T10:47:18.684" v="196" actId="164"/>
          <ac:spMkLst>
            <pc:docMk/>
            <pc:sldMk cId="2757892316" sldId="2146846832"/>
            <ac:spMk id="10" creationId="{0CB3EB4A-7F68-1519-A6B6-C1BF5E6C0BF4}"/>
          </ac:spMkLst>
        </pc:spChg>
        <pc:spChg chg="mod">
          <ac:chgData name="Wang, Yuanchen, Klein" userId="0bb01eae-e1bc-4ea1-962b-0b5342bffbe9" providerId="ADAL" clId="{E5AFF1C1-B16F-4CE6-8E89-D25D240F48A6}" dt="2024-09-27T10:47:18.684" v="196" actId="164"/>
          <ac:spMkLst>
            <pc:docMk/>
            <pc:sldMk cId="2757892316" sldId="2146846832"/>
            <ac:spMk id="14" creationId="{99579631-CE76-4F6E-BF6E-1E3203774DF7}"/>
          </ac:spMkLst>
        </pc:spChg>
        <pc:spChg chg="mod">
          <ac:chgData name="Wang, Yuanchen, Klein" userId="0bb01eae-e1bc-4ea1-962b-0b5342bffbe9" providerId="ADAL" clId="{E5AFF1C1-B16F-4CE6-8E89-D25D240F48A6}" dt="2024-09-27T10:47:44.713" v="202"/>
          <ac:spMkLst>
            <pc:docMk/>
            <pc:sldMk cId="2757892316" sldId="2146846832"/>
            <ac:spMk id="18" creationId="{32E1D440-DF09-1776-736C-3456E7D21568}"/>
          </ac:spMkLst>
        </pc:spChg>
        <pc:spChg chg="mod">
          <ac:chgData name="Wang, Yuanchen, Klein" userId="0bb01eae-e1bc-4ea1-962b-0b5342bffbe9" providerId="ADAL" clId="{E5AFF1C1-B16F-4CE6-8E89-D25D240F48A6}" dt="2024-09-27T10:47:44.713" v="202"/>
          <ac:spMkLst>
            <pc:docMk/>
            <pc:sldMk cId="2757892316" sldId="2146846832"/>
            <ac:spMk id="19" creationId="{1DF4868A-1EFC-01E6-84A7-94D59135EB45}"/>
          </ac:spMkLst>
        </pc:spChg>
        <pc:spChg chg="mod">
          <ac:chgData name="Wang, Yuanchen, Klein" userId="0bb01eae-e1bc-4ea1-962b-0b5342bffbe9" providerId="ADAL" clId="{E5AFF1C1-B16F-4CE6-8E89-D25D240F48A6}" dt="2024-09-27T10:47:44.713" v="202"/>
          <ac:spMkLst>
            <pc:docMk/>
            <pc:sldMk cId="2757892316" sldId="2146846832"/>
            <ac:spMk id="20" creationId="{82686E0E-D818-5031-56A1-2FF92334A771}"/>
          </ac:spMkLst>
        </pc:spChg>
        <pc:spChg chg="mod">
          <ac:chgData name="Wang, Yuanchen, Klein" userId="0bb01eae-e1bc-4ea1-962b-0b5342bffbe9" providerId="ADAL" clId="{E5AFF1C1-B16F-4CE6-8E89-D25D240F48A6}" dt="2024-09-27T10:47:44.713" v="202"/>
          <ac:spMkLst>
            <pc:docMk/>
            <pc:sldMk cId="2757892316" sldId="2146846832"/>
            <ac:spMk id="21" creationId="{A78F58DE-3EA5-97D8-B23D-0546D3F71B03}"/>
          </ac:spMkLst>
        </pc:spChg>
        <pc:spChg chg="mod">
          <ac:chgData name="Wang, Yuanchen, Klein" userId="0bb01eae-e1bc-4ea1-962b-0b5342bffbe9" providerId="ADAL" clId="{E5AFF1C1-B16F-4CE6-8E89-D25D240F48A6}" dt="2024-09-27T10:47:44.713" v="202"/>
          <ac:spMkLst>
            <pc:docMk/>
            <pc:sldMk cId="2757892316" sldId="2146846832"/>
            <ac:spMk id="22" creationId="{66768FED-866A-0E0E-6B58-70D417F11922}"/>
          </ac:spMkLst>
        </pc:spChg>
        <pc:spChg chg="mod">
          <ac:chgData name="Wang, Yuanchen, Klein" userId="0bb01eae-e1bc-4ea1-962b-0b5342bffbe9" providerId="ADAL" clId="{E5AFF1C1-B16F-4CE6-8E89-D25D240F48A6}" dt="2024-09-27T10:47:44.713" v="202"/>
          <ac:spMkLst>
            <pc:docMk/>
            <pc:sldMk cId="2757892316" sldId="2146846832"/>
            <ac:spMk id="23" creationId="{6040FD12-B1C2-DA6F-62F3-123C60C035FF}"/>
          </ac:spMkLst>
        </pc:spChg>
        <pc:spChg chg="mod">
          <ac:chgData name="Wang, Yuanchen, Klein" userId="0bb01eae-e1bc-4ea1-962b-0b5342bffbe9" providerId="ADAL" clId="{E5AFF1C1-B16F-4CE6-8E89-D25D240F48A6}" dt="2024-09-27T10:47:18.684" v="196" actId="164"/>
          <ac:spMkLst>
            <pc:docMk/>
            <pc:sldMk cId="2757892316" sldId="2146846832"/>
            <ac:spMk id="129" creationId="{BC0A115F-291F-4856-B4E0-BE7119621CC9}"/>
          </ac:spMkLst>
        </pc:spChg>
        <pc:grpChg chg="add del mod">
          <ac:chgData name="Wang, Yuanchen, Klein" userId="0bb01eae-e1bc-4ea1-962b-0b5342bffbe9" providerId="ADAL" clId="{E5AFF1C1-B16F-4CE6-8E89-D25D240F48A6}" dt="2024-09-27T10:47:44.288" v="201" actId="478"/>
          <ac:grpSpMkLst>
            <pc:docMk/>
            <pc:sldMk cId="2757892316" sldId="2146846832"/>
            <ac:grpSpMk id="15" creationId="{BB062127-92FC-2E60-52BF-01BA6ECE24F9}"/>
          </ac:grpSpMkLst>
        </pc:grpChg>
        <pc:grpChg chg="add mod">
          <ac:chgData name="Wang, Yuanchen, Klein" userId="0bb01eae-e1bc-4ea1-962b-0b5342bffbe9" providerId="ADAL" clId="{E5AFF1C1-B16F-4CE6-8E89-D25D240F48A6}" dt="2024-09-27T10:47:44.713" v="202"/>
          <ac:grpSpMkLst>
            <pc:docMk/>
            <pc:sldMk cId="2757892316" sldId="2146846832"/>
            <ac:grpSpMk id="16" creationId="{537A8F67-1B69-43C3-D6BF-2A47A9A3C4A0}"/>
          </ac:grpSpMkLst>
        </pc:grpChg>
        <pc:picChg chg="add del mod">
          <ac:chgData name="Wang, Yuanchen, Klein" userId="0bb01eae-e1bc-4ea1-962b-0b5342bffbe9" providerId="ADAL" clId="{E5AFF1C1-B16F-4CE6-8E89-D25D240F48A6}" dt="2024-09-27T10:44:09.271" v="21" actId="21"/>
          <ac:picMkLst>
            <pc:docMk/>
            <pc:sldMk cId="2757892316" sldId="2146846832"/>
            <ac:picMk id="5" creationId="{45981BC9-2DD5-AD75-9F63-37C91F5FC7A1}"/>
          </ac:picMkLst>
        </pc:picChg>
        <pc:picChg chg="add del">
          <ac:chgData name="Wang, Yuanchen, Klein" userId="0bb01eae-e1bc-4ea1-962b-0b5342bffbe9" providerId="ADAL" clId="{E5AFF1C1-B16F-4CE6-8E89-D25D240F48A6}" dt="2024-09-27T10:46:10.542" v="30" actId="478"/>
          <ac:picMkLst>
            <pc:docMk/>
            <pc:sldMk cId="2757892316" sldId="2146846832"/>
            <ac:picMk id="6" creationId="{143ACCC5-CD87-70AA-7774-B309594108B2}"/>
          </ac:picMkLst>
        </pc:picChg>
        <pc:picChg chg="add del mod">
          <ac:chgData name="Wang, Yuanchen, Klein" userId="0bb01eae-e1bc-4ea1-962b-0b5342bffbe9" providerId="ADAL" clId="{E5AFF1C1-B16F-4CE6-8E89-D25D240F48A6}" dt="2024-09-27T10:46:09.153" v="29" actId="21"/>
          <ac:picMkLst>
            <pc:docMk/>
            <pc:sldMk cId="2757892316" sldId="2146846832"/>
            <ac:picMk id="12" creationId="{6A230C9F-AB0D-6572-104F-642611984A83}"/>
          </ac:picMkLst>
        </pc:picChg>
        <pc:picChg chg="add mod ord">
          <ac:chgData name="Wang, Yuanchen, Klein" userId="0bb01eae-e1bc-4ea1-962b-0b5342bffbe9" providerId="ADAL" clId="{E5AFF1C1-B16F-4CE6-8E89-D25D240F48A6}" dt="2024-09-27T10:47:18.684" v="196" actId="164"/>
          <ac:picMkLst>
            <pc:docMk/>
            <pc:sldMk cId="2757892316" sldId="2146846832"/>
            <ac:picMk id="13" creationId="{6A230C9F-AB0D-6572-104F-642611984A83}"/>
          </ac:picMkLst>
        </pc:picChg>
        <pc:picChg chg="mod">
          <ac:chgData name="Wang, Yuanchen, Klein" userId="0bb01eae-e1bc-4ea1-962b-0b5342bffbe9" providerId="ADAL" clId="{E5AFF1C1-B16F-4CE6-8E89-D25D240F48A6}" dt="2024-09-27T10:47:44.713" v="202"/>
          <ac:picMkLst>
            <pc:docMk/>
            <pc:sldMk cId="2757892316" sldId="2146846832"/>
            <ac:picMk id="17" creationId="{778293E6-BDCD-5E4E-2866-F26D92E73711}"/>
          </ac:picMkLst>
        </pc:picChg>
      </pc:sldChg>
      <pc:sldChg chg="addSp delSp modSp mod">
        <pc:chgData name="Wang, Yuanchen, Klein" userId="0bb01eae-e1bc-4ea1-962b-0b5342bffbe9" providerId="ADAL" clId="{E5AFF1C1-B16F-4CE6-8E89-D25D240F48A6}" dt="2024-09-27T10:47:38.929" v="200" actId="14100"/>
        <pc:sldMkLst>
          <pc:docMk/>
          <pc:sldMk cId="2933221751" sldId="2146846833"/>
        </pc:sldMkLst>
        <pc:spChg chg="del">
          <ac:chgData name="Wang, Yuanchen, Klein" userId="0bb01eae-e1bc-4ea1-962b-0b5342bffbe9" providerId="ADAL" clId="{E5AFF1C1-B16F-4CE6-8E89-D25D240F48A6}" dt="2024-09-27T10:47:29.336" v="198" actId="478"/>
          <ac:spMkLst>
            <pc:docMk/>
            <pc:sldMk cId="2933221751" sldId="2146846833"/>
            <ac:spMk id="7" creationId="{38ED3F5E-B5B0-50F7-64EF-0D5CFF58F418}"/>
          </ac:spMkLst>
        </pc:spChg>
        <pc:spChg chg="del">
          <ac:chgData name="Wang, Yuanchen, Klein" userId="0bb01eae-e1bc-4ea1-962b-0b5342bffbe9" providerId="ADAL" clId="{E5AFF1C1-B16F-4CE6-8E89-D25D240F48A6}" dt="2024-09-27T10:47:29.336" v="198" actId="478"/>
          <ac:spMkLst>
            <pc:docMk/>
            <pc:sldMk cId="2933221751" sldId="2146846833"/>
            <ac:spMk id="8" creationId="{BDE3456D-D65C-ECD8-6C3D-5905A78D849D}"/>
          </ac:spMkLst>
        </pc:spChg>
        <pc:spChg chg="del">
          <ac:chgData name="Wang, Yuanchen, Klein" userId="0bb01eae-e1bc-4ea1-962b-0b5342bffbe9" providerId="ADAL" clId="{E5AFF1C1-B16F-4CE6-8E89-D25D240F48A6}" dt="2024-09-27T10:47:29.336" v="198" actId="478"/>
          <ac:spMkLst>
            <pc:docMk/>
            <pc:sldMk cId="2933221751" sldId="2146846833"/>
            <ac:spMk id="9" creationId="{076E59F0-3E85-B72D-7BF9-A4F215D6D8C6}"/>
          </ac:spMkLst>
        </pc:spChg>
        <pc:spChg chg="del">
          <ac:chgData name="Wang, Yuanchen, Klein" userId="0bb01eae-e1bc-4ea1-962b-0b5342bffbe9" providerId="ADAL" clId="{E5AFF1C1-B16F-4CE6-8E89-D25D240F48A6}" dt="2024-09-27T10:47:29.336" v="198" actId="478"/>
          <ac:spMkLst>
            <pc:docMk/>
            <pc:sldMk cId="2933221751" sldId="2146846833"/>
            <ac:spMk id="10" creationId="{0CB3EB4A-7F68-1519-A6B6-C1BF5E6C0BF4}"/>
          </ac:spMkLst>
        </pc:spChg>
        <pc:spChg chg="mod">
          <ac:chgData name="Wang, Yuanchen, Klein" userId="0bb01eae-e1bc-4ea1-962b-0b5342bffbe9" providerId="ADAL" clId="{E5AFF1C1-B16F-4CE6-8E89-D25D240F48A6}" dt="2024-09-27T10:47:30.382" v="199"/>
          <ac:spMkLst>
            <pc:docMk/>
            <pc:sldMk cId="2933221751" sldId="2146846833"/>
            <ac:spMk id="11" creationId="{298E83EC-9A62-E9EF-32EF-EA213928209B}"/>
          </ac:spMkLst>
        </pc:spChg>
        <pc:spChg chg="mod">
          <ac:chgData name="Wang, Yuanchen, Klein" userId="0bb01eae-e1bc-4ea1-962b-0b5342bffbe9" providerId="ADAL" clId="{E5AFF1C1-B16F-4CE6-8E89-D25D240F48A6}" dt="2024-09-27T10:47:30.382" v="199"/>
          <ac:spMkLst>
            <pc:docMk/>
            <pc:sldMk cId="2933221751" sldId="2146846833"/>
            <ac:spMk id="12" creationId="{97DAE1AC-B250-6477-B403-EBB6CEC648C6}"/>
          </ac:spMkLst>
        </pc:spChg>
        <pc:spChg chg="mod">
          <ac:chgData name="Wang, Yuanchen, Klein" userId="0bb01eae-e1bc-4ea1-962b-0b5342bffbe9" providerId="ADAL" clId="{E5AFF1C1-B16F-4CE6-8E89-D25D240F48A6}" dt="2024-09-27T10:47:30.382" v="199"/>
          <ac:spMkLst>
            <pc:docMk/>
            <pc:sldMk cId="2933221751" sldId="2146846833"/>
            <ac:spMk id="13" creationId="{446B5977-5ECA-4B09-D74B-BB715CD414EA}"/>
          </ac:spMkLst>
        </pc:spChg>
        <pc:spChg chg="del">
          <ac:chgData name="Wang, Yuanchen, Klein" userId="0bb01eae-e1bc-4ea1-962b-0b5342bffbe9" providerId="ADAL" clId="{E5AFF1C1-B16F-4CE6-8E89-D25D240F48A6}" dt="2024-09-27T10:47:29.336" v="198" actId="478"/>
          <ac:spMkLst>
            <pc:docMk/>
            <pc:sldMk cId="2933221751" sldId="2146846833"/>
            <ac:spMk id="14" creationId="{99579631-CE76-4F6E-BF6E-1E3203774DF7}"/>
          </ac:spMkLst>
        </pc:spChg>
        <pc:spChg chg="mod">
          <ac:chgData name="Wang, Yuanchen, Klein" userId="0bb01eae-e1bc-4ea1-962b-0b5342bffbe9" providerId="ADAL" clId="{E5AFF1C1-B16F-4CE6-8E89-D25D240F48A6}" dt="2024-09-27T10:47:30.382" v="199"/>
          <ac:spMkLst>
            <pc:docMk/>
            <pc:sldMk cId="2933221751" sldId="2146846833"/>
            <ac:spMk id="15" creationId="{A7DECF52-689B-40FD-ED16-C7E1AB685121}"/>
          </ac:spMkLst>
        </pc:spChg>
        <pc:spChg chg="mod">
          <ac:chgData name="Wang, Yuanchen, Klein" userId="0bb01eae-e1bc-4ea1-962b-0b5342bffbe9" providerId="ADAL" clId="{E5AFF1C1-B16F-4CE6-8E89-D25D240F48A6}" dt="2024-09-27T10:47:30.382" v="199"/>
          <ac:spMkLst>
            <pc:docMk/>
            <pc:sldMk cId="2933221751" sldId="2146846833"/>
            <ac:spMk id="16" creationId="{085F38E6-E1E8-C9CA-4B9A-CF3842105FF6}"/>
          </ac:spMkLst>
        </pc:spChg>
        <pc:spChg chg="mod">
          <ac:chgData name="Wang, Yuanchen, Klein" userId="0bb01eae-e1bc-4ea1-962b-0b5342bffbe9" providerId="ADAL" clId="{E5AFF1C1-B16F-4CE6-8E89-D25D240F48A6}" dt="2024-09-27T10:47:30.382" v="199"/>
          <ac:spMkLst>
            <pc:docMk/>
            <pc:sldMk cId="2933221751" sldId="2146846833"/>
            <ac:spMk id="17" creationId="{08E7E0D0-25E9-7D7B-C0B7-7188B327F0A4}"/>
          </ac:spMkLst>
        </pc:spChg>
        <pc:spChg chg="del">
          <ac:chgData name="Wang, Yuanchen, Klein" userId="0bb01eae-e1bc-4ea1-962b-0b5342bffbe9" providerId="ADAL" clId="{E5AFF1C1-B16F-4CE6-8E89-D25D240F48A6}" dt="2024-09-27T10:47:29.336" v="198" actId="478"/>
          <ac:spMkLst>
            <pc:docMk/>
            <pc:sldMk cId="2933221751" sldId="2146846833"/>
            <ac:spMk id="129" creationId="{BC0A115F-291F-4856-B4E0-BE7119621CC9}"/>
          </ac:spMkLst>
        </pc:spChg>
        <pc:grpChg chg="add mod">
          <ac:chgData name="Wang, Yuanchen, Klein" userId="0bb01eae-e1bc-4ea1-962b-0b5342bffbe9" providerId="ADAL" clId="{E5AFF1C1-B16F-4CE6-8E89-D25D240F48A6}" dt="2024-09-27T10:47:38.929" v="200" actId="14100"/>
          <ac:grpSpMkLst>
            <pc:docMk/>
            <pc:sldMk cId="2933221751" sldId="2146846833"/>
            <ac:grpSpMk id="4" creationId="{AD1E3A9D-5F67-FBFD-38FC-B622C4566722}"/>
          </ac:grpSpMkLst>
        </pc:grpChg>
        <pc:picChg chg="mod">
          <ac:chgData name="Wang, Yuanchen, Klein" userId="0bb01eae-e1bc-4ea1-962b-0b5342bffbe9" providerId="ADAL" clId="{E5AFF1C1-B16F-4CE6-8E89-D25D240F48A6}" dt="2024-09-27T10:47:30.382" v="199"/>
          <ac:picMkLst>
            <pc:docMk/>
            <pc:sldMk cId="2933221751" sldId="2146846833"/>
            <ac:picMk id="5" creationId="{B30673C7-568A-3C4E-414C-5AB90CF845AF}"/>
          </ac:picMkLst>
        </pc:picChg>
        <pc:picChg chg="del">
          <ac:chgData name="Wang, Yuanchen, Klein" userId="0bb01eae-e1bc-4ea1-962b-0b5342bffbe9" providerId="ADAL" clId="{E5AFF1C1-B16F-4CE6-8E89-D25D240F48A6}" dt="2024-09-27T10:47:23.221" v="197" actId="478"/>
          <ac:picMkLst>
            <pc:docMk/>
            <pc:sldMk cId="2933221751" sldId="2146846833"/>
            <ac:picMk id="6" creationId="{143ACCC5-CD87-70AA-7774-B309594108B2}"/>
          </ac:picMkLst>
        </pc:picChg>
      </pc:sldChg>
    </pc:docChg>
  </pc:docChgLst>
  <pc:docChgLst>
    <pc:chgData name="Li, Chaohang" userId="992fc9f1-2e8e-474f-9361-e6b03ee5dc88" providerId="ADAL" clId="{384A98EB-A370-472A-B68E-5B0FFC7DF4E5}"/>
    <pc:docChg chg="undo custSel addSld modSld">
      <pc:chgData name="Li, Chaohang" userId="992fc9f1-2e8e-474f-9361-e6b03ee5dc88" providerId="ADAL" clId="{384A98EB-A370-472A-B68E-5B0FFC7DF4E5}" dt="2024-09-05T07:56:47.256" v="1013" actId="20577"/>
      <pc:docMkLst>
        <pc:docMk/>
      </pc:docMkLst>
      <pc:sldChg chg="addSp delSp modSp mod">
        <pc:chgData name="Li, Chaohang" userId="992fc9f1-2e8e-474f-9361-e6b03ee5dc88" providerId="ADAL" clId="{384A98EB-A370-472A-B68E-5B0FFC7DF4E5}" dt="2024-09-05T07:46:40.290" v="554" actId="20577"/>
        <pc:sldMkLst>
          <pc:docMk/>
          <pc:sldMk cId="2895249328" sldId="2146846834"/>
        </pc:sldMkLst>
        <pc:spChg chg="mod">
          <ac:chgData name="Li, Chaohang" userId="992fc9f1-2e8e-474f-9361-e6b03ee5dc88" providerId="ADAL" clId="{384A98EB-A370-472A-B68E-5B0FFC7DF4E5}" dt="2024-09-05T07:46:40.290" v="554" actId="20577"/>
          <ac:spMkLst>
            <pc:docMk/>
            <pc:sldMk cId="2895249328" sldId="2146846834"/>
            <ac:spMk id="2" creationId="{38596477-EFAC-45E0-B30B-B9CB1132B860}"/>
          </ac:spMkLst>
        </pc:spChg>
        <pc:spChg chg="add mod">
          <ac:chgData name="Li, Chaohang" userId="992fc9f1-2e8e-474f-9361-e6b03ee5dc88" providerId="ADAL" clId="{384A98EB-A370-472A-B68E-5B0FFC7DF4E5}" dt="2024-09-05T07:18:26.512" v="13" actId="20577"/>
          <ac:spMkLst>
            <pc:docMk/>
            <pc:sldMk cId="2895249328" sldId="2146846834"/>
            <ac:spMk id="7" creationId="{A0A94FDD-5E5C-C9D1-AA1B-842DC235E716}"/>
          </ac:spMkLst>
        </pc:spChg>
        <pc:spChg chg="add mod">
          <ac:chgData name="Li, Chaohang" userId="992fc9f1-2e8e-474f-9361-e6b03ee5dc88" providerId="ADAL" clId="{384A98EB-A370-472A-B68E-5B0FFC7DF4E5}" dt="2024-09-05T07:18:34.051" v="16" actId="20577"/>
          <ac:spMkLst>
            <pc:docMk/>
            <pc:sldMk cId="2895249328" sldId="2146846834"/>
            <ac:spMk id="8" creationId="{7FFE22BD-8B19-D966-239E-F107BF0EC18E}"/>
          </ac:spMkLst>
        </pc:spChg>
        <pc:spChg chg="add mod">
          <ac:chgData name="Li, Chaohang" userId="992fc9f1-2e8e-474f-9361-e6b03ee5dc88" providerId="ADAL" clId="{384A98EB-A370-472A-B68E-5B0FFC7DF4E5}" dt="2024-09-05T07:18:40.186" v="19" actId="20577"/>
          <ac:spMkLst>
            <pc:docMk/>
            <pc:sldMk cId="2895249328" sldId="2146846834"/>
            <ac:spMk id="9" creationId="{E1167563-5E7E-37A8-3A43-A0D43039BBD4}"/>
          </ac:spMkLst>
        </pc:spChg>
        <pc:spChg chg="add mod">
          <ac:chgData name="Li, Chaohang" userId="992fc9f1-2e8e-474f-9361-e6b03ee5dc88" providerId="ADAL" clId="{384A98EB-A370-472A-B68E-5B0FFC7DF4E5}" dt="2024-09-05T07:21:01.789" v="75" actId="164"/>
          <ac:spMkLst>
            <pc:docMk/>
            <pc:sldMk cId="2895249328" sldId="2146846834"/>
            <ac:spMk id="12" creationId="{4CC14403-81F3-A340-06A0-1BFCA16F8FD9}"/>
          </ac:spMkLst>
        </pc:spChg>
        <pc:spChg chg="add mod">
          <ac:chgData name="Li, Chaohang" userId="992fc9f1-2e8e-474f-9361-e6b03ee5dc88" providerId="ADAL" clId="{384A98EB-A370-472A-B68E-5B0FFC7DF4E5}" dt="2024-09-05T07:21:01.789" v="75" actId="164"/>
          <ac:spMkLst>
            <pc:docMk/>
            <pc:sldMk cId="2895249328" sldId="2146846834"/>
            <ac:spMk id="13" creationId="{CB9AC252-FDED-1F0A-B1B1-F7E592B6A17B}"/>
          </ac:spMkLst>
        </pc:spChg>
        <pc:spChg chg="mod">
          <ac:chgData name="Li, Chaohang" userId="992fc9f1-2e8e-474f-9361-e6b03ee5dc88" providerId="ADAL" clId="{384A98EB-A370-472A-B68E-5B0FFC7DF4E5}" dt="2024-09-05T07:18:20.072" v="10" actId="1076"/>
          <ac:spMkLst>
            <pc:docMk/>
            <pc:sldMk cId="2895249328" sldId="2146846834"/>
            <ac:spMk id="14" creationId="{99579631-CE76-4F6E-BF6E-1E3203774DF7}"/>
          </ac:spMkLst>
        </pc:spChg>
        <pc:spChg chg="mod">
          <ac:chgData name="Li, Chaohang" userId="992fc9f1-2e8e-474f-9361-e6b03ee5dc88" providerId="ADAL" clId="{384A98EB-A370-472A-B68E-5B0FFC7DF4E5}" dt="2024-09-05T07:21:04.109" v="76"/>
          <ac:spMkLst>
            <pc:docMk/>
            <pc:sldMk cId="2895249328" sldId="2146846834"/>
            <ac:spMk id="17" creationId="{D02D77EE-92DA-48EB-B1B9-4F89797B1AF7}"/>
          </ac:spMkLst>
        </pc:spChg>
        <pc:spChg chg="mod">
          <ac:chgData name="Li, Chaohang" userId="992fc9f1-2e8e-474f-9361-e6b03ee5dc88" providerId="ADAL" clId="{384A98EB-A370-472A-B68E-5B0FFC7DF4E5}" dt="2024-09-05T07:21:10.326" v="79" actId="20577"/>
          <ac:spMkLst>
            <pc:docMk/>
            <pc:sldMk cId="2895249328" sldId="2146846834"/>
            <ac:spMk id="18" creationId="{35EC965C-2D39-2776-CDB7-2D6AE1888BFF}"/>
          </ac:spMkLst>
        </pc:spChg>
        <pc:spChg chg="mod">
          <ac:chgData name="Li, Chaohang" userId="992fc9f1-2e8e-474f-9361-e6b03ee5dc88" providerId="ADAL" clId="{384A98EB-A370-472A-B68E-5B0FFC7DF4E5}" dt="2024-09-05T07:21:15.597" v="80"/>
          <ac:spMkLst>
            <pc:docMk/>
            <pc:sldMk cId="2895249328" sldId="2146846834"/>
            <ac:spMk id="20" creationId="{A24E3A6E-5B9E-7B27-5F73-15DC80A22426}"/>
          </ac:spMkLst>
        </pc:spChg>
        <pc:spChg chg="mod">
          <ac:chgData name="Li, Chaohang" userId="992fc9f1-2e8e-474f-9361-e6b03ee5dc88" providerId="ADAL" clId="{384A98EB-A370-472A-B68E-5B0FFC7DF4E5}" dt="2024-09-05T07:21:21.723" v="83" actId="20577"/>
          <ac:spMkLst>
            <pc:docMk/>
            <pc:sldMk cId="2895249328" sldId="2146846834"/>
            <ac:spMk id="21" creationId="{708A6539-F2BD-F96E-1C16-EAB742597487}"/>
          </ac:spMkLst>
        </pc:spChg>
        <pc:spChg chg="mod">
          <ac:chgData name="Li, Chaohang" userId="992fc9f1-2e8e-474f-9361-e6b03ee5dc88" providerId="ADAL" clId="{384A98EB-A370-472A-B68E-5B0FFC7DF4E5}" dt="2024-09-05T07:23:59.591" v="378" actId="20577"/>
          <ac:spMkLst>
            <pc:docMk/>
            <pc:sldMk cId="2895249328" sldId="2146846834"/>
            <ac:spMk id="114" creationId="{E8C45494-200A-49A1-AC32-071035F87E51}"/>
          </ac:spMkLst>
        </pc:spChg>
        <pc:spChg chg="mod">
          <ac:chgData name="Li, Chaohang" userId="992fc9f1-2e8e-474f-9361-e6b03ee5dc88" providerId="ADAL" clId="{384A98EB-A370-472A-B68E-5B0FFC7DF4E5}" dt="2024-09-05T07:18:14.689" v="9" actId="1076"/>
          <ac:spMkLst>
            <pc:docMk/>
            <pc:sldMk cId="2895249328" sldId="2146846834"/>
            <ac:spMk id="129" creationId="{BC0A115F-291F-4856-B4E0-BE7119621CC9}"/>
          </ac:spMkLst>
        </pc:spChg>
        <pc:grpChg chg="add mod">
          <ac:chgData name="Li, Chaohang" userId="992fc9f1-2e8e-474f-9361-e6b03ee5dc88" providerId="ADAL" clId="{384A98EB-A370-472A-B68E-5B0FFC7DF4E5}" dt="2024-09-05T07:21:01.789" v="75" actId="164"/>
          <ac:grpSpMkLst>
            <pc:docMk/>
            <pc:sldMk cId="2895249328" sldId="2146846834"/>
            <ac:grpSpMk id="15" creationId="{D4C453E3-29AC-4054-63E0-9CFF2BFB18D8}"/>
          </ac:grpSpMkLst>
        </pc:grpChg>
        <pc:grpChg chg="add mod">
          <ac:chgData name="Li, Chaohang" userId="992fc9f1-2e8e-474f-9361-e6b03ee5dc88" providerId="ADAL" clId="{384A98EB-A370-472A-B68E-5B0FFC7DF4E5}" dt="2024-09-05T07:21:06.966" v="77" actId="1076"/>
          <ac:grpSpMkLst>
            <pc:docMk/>
            <pc:sldMk cId="2895249328" sldId="2146846834"/>
            <ac:grpSpMk id="16" creationId="{FA7B2A57-E10A-DE5B-2F5B-5627C20B7EDF}"/>
          </ac:grpSpMkLst>
        </pc:grpChg>
        <pc:grpChg chg="add mod">
          <ac:chgData name="Li, Chaohang" userId="992fc9f1-2e8e-474f-9361-e6b03ee5dc88" providerId="ADAL" clId="{384A98EB-A370-472A-B68E-5B0FFC7DF4E5}" dt="2024-09-05T07:21:18.751" v="81" actId="1076"/>
          <ac:grpSpMkLst>
            <pc:docMk/>
            <pc:sldMk cId="2895249328" sldId="2146846834"/>
            <ac:grpSpMk id="19" creationId="{57B9FCD4-257A-1A71-330F-488C0CB06FF6}"/>
          </ac:grpSpMkLst>
        </pc:grpChg>
        <pc:picChg chg="del">
          <ac:chgData name="Li, Chaohang" userId="992fc9f1-2e8e-474f-9361-e6b03ee5dc88" providerId="ADAL" clId="{384A98EB-A370-472A-B68E-5B0FFC7DF4E5}" dt="2024-09-05T07:17:51.538" v="0" actId="478"/>
          <ac:picMkLst>
            <pc:docMk/>
            <pc:sldMk cId="2895249328" sldId="2146846834"/>
            <ac:picMk id="4" creationId="{D417FC1F-6CAC-42EE-BFD5-DEA5C647754F}"/>
          </ac:picMkLst>
        </pc:picChg>
        <pc:picChg chg="add mod ord">
          <ac:chgData name="Li, Chaohang" userId="992fc9f1-2e8e-474f-9361-e6b03ee5dc88" providerId="ADAL" clId="{384A98EB-A370-472A-B68E-5B0FFC7DF4E5}" dt="2024-09-05T07:18:08.050" v="8" actId="167"/>
          <ac:picMkLst>
            <pc:docMk/>
            <pc:sldMk cId="2895249328" sldId="2146846834"/>
            <ac:picMk id="6" creationId="{98352BDE-0BC7-0E15-F726-3907BC1005FE}"/>
          </ac:picMkLst>
        </pc:picChg>
        <pc:picChg chg="add mod">
          <ac:chgData name="Li, Chaohang" userId="992fc9f1-2e8e-474f-9361-e6b03ee5dc88" providerId="ADAL" clId="{384A98EB-A370-472A-B68E-5B0FFC7DF4E5}" dt="2024-09-05T07:20:04.645" v="53" actId="1076"/>
          <ac:picMkLst>
            <pc:docMk/>
            <pc:sldMk cId="2895249328" sldId="2146846834"/>
            <ac:picMk id="11" creationId="{0892B9B9-C617-0301-9B5D-9F452828D507}"/>
          </ac:picMkLst>
        </pc:picChg>
      </pc:sldChg>
      <pc:sldChg chg="addSp delSp modSp add mod">
        <pc:chgData name="Li, Chaohang" userId="992fc9f1-2e8e-474f-9361-e6b03ee5dc88" providerId="ADAL" clId="{384A98EB-A370-472A-B68E-5B0FFC7DF4E5}" dt="2024-09-05T07:46:37.406" v="552" actId="20577"/>
        <pc:sldMkLst>
          <pc:docMk/>
          <pc:sldMk cId="2206889037" sldId="2146846835"/>
        </pc:sldMkLst>
        <pc:spChg chg="mod">
          <ac:chgData name="Li, Chaohang" userId="992fc9f1-2e8e-474f-9361-e6b03ee5dc88" providerId="ADAL" clId="{384A98EB-A370-472A-B68E-5B0FFC7DF4E5}" dt="2024-09-05T07:46:37.406" v="552" actId="20577"/>
          <ac:spMkLst>
            <pc:docMk/>
            <pc:sldMk cId="2206889037" sldId="2146846835"/>
            <ac:spMk id="2" creationId="{38596477-EFAC-45E0-B30B-B9CB1132B860}"/>
          </ac:spMkLst>
        </pc:spChg>
        <pc:spChg chg="mod">
          <ac:chgData name="Li, Chaohang" userId="992fc9f1-2e8e-474f-9361-e6b03ee5dc88" providerId="ADAL" clId="{384A98EB-A370-472A-B68E-5B0FFC7DF4E5}" dt="2024-09-05T07:43:38.374" v="424" actId="20577"/>
          <ac:spMkLst>
            <pc:docMk/>
            <pc:sldMk cId="2206889037" sldId="2146846835"/>
            <ac:spMk id="13" creationId="{CB9AC252-FDED-1F0A-B1B1-F7E592B6A17B}"/>
          </ac:spMkLst>
        </pc:spChg>
        <pc:spChg chg="mod">
          <ac:chgData name="Li, Chaohang" userId="992fc9f1-2e8e-474f-9361-e6b03ee5dc88" providerId="ADAL" clId="{384A98EB-A370-472A-B68E-5B0FFC7DF4E5}" dt="2024-09-05T07:43:44.400" v="428" actId="20577"/>
          <ac:spMkLst>
            <pc:docMk/>
            <pc:sldMk cId="2206889037" sldId="2146846835"/>
            <ac:spMk id="18" creationId="{35EC965C-2D39-2776-CDB7-2D6AE1888BFF}"/>
          </ac:spMkLst>
        </pc:spChg>
        <pc:spChg chg="mod">
          <ac:chgData name="Li, Chaohang" userId="992fc9f1-2e8e-474f-9361-e6b03ee5dc88" providerId="ADAL" clId="{384A98EB-A370-472A-B68E-5B0FFC7DF4E5}" dt="2024-09-05T07:43:41.544" v="426" actId="20577"/>
          <ac:spMkLst>
            <pc:docMk/>
            <pc:sldMk cId="2206889037" sldId="2146846835"/>
            <ac:spMk id="21" creationId="{708A6539-F2BD-F96E-1C16-EAB742597487}"/>
          </ac:spMkLst>
        </pc:spChg>
        <pc:spChg chg="mod">
          <ac:chgData name="Li, Chaohang" userId="992fc9f1-2e8e-474f-9361-e6b03ee5dc88" providerId="ADAL" clId="{384A98EB-A370-472A-B68E-5B0FFC7DF4E5}" dt="2024-09-05T07:43:31.482" v="422" actId="20577"/>
          <ac:spMkLst>
            <pc:docMk/>
            <pc:sldMk cId="2206889037" sldId="2146846835"/>
            <ac:spMk id="114" creationId="{E8C45494-200A-49A1-AC32-071035F87E51}"/>
          </ac:spMkLst>
        </pc:spChg>
        <pc:grpChg chg="mod ord">
          <ac:chgData name="Li, Chaohang" userId="992fc9f1-2e8e-474f-9361-e6b03ee5dc88" providerId="ADAL" clId="{384A98EB-A370-472A-B68E-5B0FFC7DF4E5}" dt="2024-09-05T07:42:51.743" v="393" actId="166"/>
          <ac:grpSpMkLst>
            <pc:docMk/>
            <pc:sldMk cId="2206889037" sldId="2146846835"/>
            <ac:grpSpMk id="15" creationId="{D4C453E3-29AC-4054-63E0-9CFF2BFB18D8}"/>
          </ac:grpSpMkLst>
        </pc:grpChg>
        <pc:grpChg chg="mod ord">
          <ac:chgData name="Li, Chaohang" userId="992fc9f1-2e8e-474f-9361-e6b03ee5dc88" providerId="ADAL" clId="{384A98EB-A370-472A-B68E-5B0FFC7DF4E5}" dt="2024-09-05T07:42:57.829" v="395" actId="1076"/>
          <ac:grpSpMkLst>
            <pc:docMk/>
            <pc:sldMk cId="2206889037" sldId="2146846835"/>
            <ac:grpSpMk id="16" creationId="{FA7B2A57-E10A-DE5B-2F5B-5627C20B7EDF}"/>
          </ac:grpSpMkLst>
        </pc:grpChg>
        <pc:grpChg chg="mod ord">
          <ac:chgData name="Li, Chaohang" userId="992fc9f1-2e8e-474f-9361-e6b03ee5dc88" providerId="ADAL" clId="{384A98EB-A370-472A-B68E-5B0FFC7DF4E5}" dt="2024-09-05T07:42:55.277" v="394" actId="1076"/>
          <ac:grpSpMkLst>
            <pc:docMk/>
            <pc:sldMk cId="2206889037" sldId="2146846835"/>
            <ac:grpSpMk id="19" creationId="{57B9FCD4-257A-1A71-330F-488C0CB06FF6}"/>
          </ac:grpSpMkLst>
        </pc:grpChg>
        <pc:picChg chg="add mod">
          <ac:chgData name="Li, Chaohang" userId="992fc9f1-2e8e-474f-9361-e6b03ee5dc88" providerId="ADAL" clId="{384A98EB-A370-472A-B68E-5B0FFC7DF4E5}" dt="2024-09-05T07:25:33.572" v="391" actId="1076"/>
          <ac:picMkLst>
            <pc:docMk/>
            <pc:sldMk cId="2206889037" sldId="2146846835"/>
            <ac:picMk id="5" creationId="{A3F7CA6E-6E11-83E2-2CBC-70E088C4D043}"/>
          </ac:picMkLst>
        </pc:picChg>
        <pc:picChg chg="del">
          <ac:chgData name="Li, Chaohang" userId="992fc9f1-2e8e-474f-9361-e6b03ee5dc88" providerId="ADAL" clId="{384A98EB-A370-472A-B68E-5B0FFC7DF4E5}" dt="2024-09-05T07:25:00.290" v="388" actId="478"/>
          <ac:picMkLst>
            <pc:docMk/>
            <pc:sldMk cId="2206889037" sldId="2146846835"/>
            <ac:picMk id="11" creationId="{0892B9B9-C617-0301-9B5D-9F452828D507}"/>
          </ac:picMkLst>
        </pc:picChg>
      </pc:sldChg>
      <pc:sldChg chg="addSp delSp modSp add mod">
        <pc:chgData name="Li, Chaohang" userId="992fc9f1-2e8e-474f-9361-e6b03ee5dc88" providerId="ADAL" clId="{384A98EB-A370-472A-B68E-5B0FFC7DF4E5}" dt="2024-09-05T07:47:31.318" v="618" actId="20577"/>
        <pc:sldMkLst>
          <pc:docMk/>
          <pc:sldMk cId="2231683084" sldId="2146846836"/>
        </pc:sldMkLst>
        <pc:spChg chg="mod">
          <ac:chgData name="Li, Chaohang" userId="992fc9f1-2e8e-474f-9361-e6b03ee5dc88" providerId="ADAL" clId="{384A98EB-A370-472A-B68E-5B0FFC7DF4E5}" dt="2024-09-05T07:46:31.195" v="548" actId="20577"/>
          <ac:spMkLst>
            <pc:docMk/>
            <pc:sldMk cId="2231683084" sldId="2146846836"/>
            <ac:spMk id="2" creationId="{38596477-EFAC-45E0-B30B-B9CB1132B860}"/>
          </ac:spMkLst>
        </pc:spChg>
        <pc:spChg chg="mod">
          <ac:chgData name="Li, Chaohang" userId="992fc9f1-2e8e-474f-9361-e6b03ee5dc88" providerId="ADAL" clId="{384A98EB-A370-472A-B68E-5B0FFC7DF4E5}" dt="2024-09-05T07:45:02.757" v="452"/>
          <ac:spMkLst>
            <pc:docMk/>
            <pc:sldMk cId="2231683084" sldId="2146846836"/>
            <ac:spMk id="22" creationId="{004DBF36-4657-DF5E-AC30-2D4EF4806DC1}"/>
          </ac:spMkLst>
        </pc:spChg>
        <pc:spChg chg="mod">
          <ac:chgData name="Li, Chaohang" userId="992fc9f1-2e8e-474f-9361-e6b03ee5dc88" providerId="ADAL" clId="{384A98EB-A370-472A-B68E-5B0FFC7DF4E5}" dt="2024-09-05T07:45:39.704" v="465" actId="20577"/>
          <ac:spMkLst>
            <pc:docMk/>
            <pc:sldMk cId="2231683084" sldId="2146846836"/>
            <ac:spMk id="23" creationId="{B176FD2F-803D-BAA1-AD3B-4B11159EE40E}"/>
          </ac:spMkLst>
        </pc:spChg>
        <pc:spChg chg="mod">
          <ac:chgData name="Li, Chaohang" userId="992fc9f1-2e8e-474f-9361-e6b03ee5dc88" providerId="ADAL" clId="{384A98EB-A370-472A-B68E-5B0FFC7DF4E5}" dt="2024-09-05T07:45:02.757" v="452"/>
          <ac:spMkLst>
            <pc:docMk/>
            <pc:sldMk cId="2231683084" sldId="2146846836"/>
            <ac:spMk id="25" creationId="{7E4FAD37-A613-05C3-8877-CFAF7BF96549}"/>
          </ac:spMkLst>
        </pc:spChg>
        <pc:spChg chg="mod">
          <ac:chgData name="Li, Chaohang" userId="992fc9f1-2e8e-474f-9361-e6b03ee5dc88" providerId="ADAL" clId="{384A98EB-A370-472A-B68E-5B0FFC7DF4E5}" dt="2024-09-05T07:45:34.932" v="461" actId="20577"/>
          <ac:spMkLst>
            <pc:docMk/>
            <pc:sldMk cId="2231683084" sldId="2146846836"/>
            <ac:spMk id="26" creationId="{B346F09F-57C6-2698-E27A-6EABCE9FC684}"/>
          </ac:spMkLst>
        </pc:spChg>
        <pc:spChg chg="mod">
          <ac:chgData name="Li, Chaohang" userId="992fc9f1-2e8e-474f-9361-e6b03ee5dc88" providerId="ADAL" clId="{384A98EB-A370-472A-B68E-5B0FFC7DF4E5}" dt="2024-09-05T07:45:17.484" v="455"/>
          <ac:spMkLst>
            <pc:docMk/>
            <pc:sldMk cId="2231683084" sldId="2146846836"/>
            <ac:spMk id="28" creationId="{8B0F9A83-BD4D-0E39-A826-CAF30F50DDE3}"/>
          </ac:spMkLst>
        </pc:spChg>
        <pc:spChg chg="mod">
          <ac:chgData name="Li, Chaohang" userId="992fc9f1-2e8e-474f-9361-e6b03ee5dc88" providerId="ADAL" clId="{384A98EB-A370-472A-B68E-5B0FFC7DF4E5}" dt="2024-09-05T07:45:17.484" v="455"/>
          <ac:spMkLst>
            <pc:docMk/>
            <pc:sldMk cId="2231683084" sldId="2146846836"/>
            <ac:spMk id="29" creationId="{4B8ED132-7481-14E4-203C-DBF22A8BA5DF}"/>
          </ac:spMkLst>
        </pc:spChg>
        <pc:spChg chg="mod">
          <ac:chgData name="Li, Chaohang" userId="992fc9f1-2e8e-474f-9361-e6b03ee5dc88" providerId="ADAL" clId="{384A98EB-A370-472A-B68E-5B0FFC7DF4E5}" dt="2024-09-05T07:47:31.318" v="618" actId="20577"/>
          <ac:spMkLst>
            <pc:docMk/>
            <pc:sldMk cId="2231683084" sldId="2146846836"/>
            <ac:spMk id="114" creationId="{E8C45494-200A-49A1-AC32-071035F87E51}"/>
          </ac:spMkLst>
        </pc:spChg>
        <pc:grpChg chg="add mod">
          <ac:chgData name="Li, Chaohang" userId="992fc9f1-2e8e-474f-9361-e6b03ee5dc88" providerId="ADAL" clId="{384A98EB-A370-472A-B68E-5B0FFC7DF4E5}" dt="2024-09-05T07:45:32.461" v="459" actId="1076"/>
          <ac:grpSpMkLst>
            <pc:docMk/>
            <pc:sldMk cId="2231683084" sldId="2146846836"/>
            <ac:grpSpMk id="11" creationId="{32BD21DE-144C-7B84-EB6A-2703E783C828}"/>
          </ac:grpSpMkLst>
        </pc:grpChg>
        <pc:grpChg chg="del">
          <ac:chgData name="Li, Chaohang" userId="992fc9f1-2e8e-474f-9361-e6b03ee5dc88" providerId="ADAL" clId="{384A98EB-A370-472A-B68E-5B0FFC7DF4E5}" dt="2024-09-05T07:44:08.304" v="434" actId="478"/>
          <ac:grpSpMkLst>
            <pc:docMk/>
            <pc:sldMk cId="2231683084" sldId="2146846836"/>
            <ac:grpSpMk id="15" creationId="{D4C453E3-29AC-4054-63E0-9CFF2BFB18D8}"/>
          </ac:grpSpMkLst>
        </pc:grpChg>
        <pc:grpChg chg="del">
          <ac:chgData name="Li, Chaohang" userId="992fc9f1-2e8e-474f-9361-e6b03ee5dc88" providerId="ADAL" clId="{384A98EB-A370-472A-B68E-5B0FFC7DF4E5}" dt="2024-09-05T07:44:11.380" v="436" actId="478"/>
          <ac:grpSpMkLst>
            <pc:docMk/>
            <pc:sldMk cId="2231683084" sldId="2146846836"/>
            <ac:grpSpMk id="16" creationId="{FA7B2A57-E10A-DE5B-2F5B-5627C20B7EDF}"/>
          </ac:grpSpMkLst>
        </pc:grpChg>
        <pc:grpChg chg="del">
          <ac:chgData name="Li, Chaohang" userId="992fc9f1-2e8e-474f-9361-e6b03ee5dc88" providerId="ADAL" clId="{384A98EB-A370-472A-B68E-5B0FFC7DF4E5}" dt="2024-09-05T07:44:09.433" v="435" actId="478"/>
          <ac:grpSpMkLst>
            <pc:docMk/>
            <pc:sldMk cId="2231683084" sldId="2146846836"/>
            <ac:grpSpMk id="19" creationId="{57B9FCD4-257A-1A71-330F-488C0CB06FF6}"/>
          </ac:grpSpMkLst>
        </pc:grpChg>
        <pc:grpChg chg="add mod">
          <ac:chgData name="Li, Chaohang" userId="992fc9f1-2e8e-474f-9361-e6b03ee5dc88" providerId="ADAL" clId="{384A98EB-A370-472A-B68E-5B0FFC7DF4E5}" dt="2024-09-05T07:45:28.938" v="458" actId="1076"/>
          <ac:grpSpMkLst>
            <pc:docMk/>
            <pc:sldMk cId="2231683084" sldId="2146846836"/>
            <ac:grpSpMk id="24" creationId="{2CA59197-B6CA-C847-8A87-A6A2AC4DD45C}"/>
          </ac:grpSpMkLst>
        </pc:grpChg>
        <pc:grpChg chg="add del mod">
          <ac:chgData name="Li, Chaohang" userId="992fc9f1-2e8e-474f-9361-e6b03ee5dc88" providerId="ADAL" clId="{384A98EB-A370-472A-B68E-5B0FFC7DF4E5}" dt="2024-09-05T07:45:25.493" v="457" actId="478"/>
          <ac:grpSpMkLst>
            <pc:docMk/>
            <pc:sldMk cId="2231683084" sldId="2146846836"/>
            <ac:grpSpMk id="27" creationId="{572B70B5-5ABC-1570-7A1F-EB0529F85F9A}"/>
          </ac:grpSpMkLst>
        </pc:grpChg>
        <pc:picChg chg="del">
          <ac:chgData name="Li, Chaohang" userId="992fc9f1-2e8e-474f-9361-e6b03ee5dc88" providerId="ADAL" clId="{384A98EB-A370-472A-B68E-5B0FFC7DF4E5}" dt="2024-09-05T07:44:05.901" v="433" actId="478"/>
          <ac:picMkLst>
            <pc:docMk/>
            <pc:sldMk cId="2231683084" sldId="2146846836"/>
            <ac:picMk id="5" creationId="{A3F7CA6E-6E11-83E2-2CBC-70E088C4D043}"/>
          </ac:picMkLst>
        </pc:picChg>
        <pc:picChg chg="add mod">
          <ac:chgData name="Li, Chaohang" userId="992fc9f1-2e8e-474f-9361-e6b03ee5dc88" providerId="ADAL" clId="{384A98EB-A370-472A-B68E-5B0FFC7DF4E5}" dt="2024-09-05T07:44:54.054" v="451" actId="1076"/>
          <ac:picMkLst>
            <pc:docMk/>
            <pc:sldMk cId="2231683084" sldId="2146846836"/>
            <ac:picMk id="10" creationId="{DCCA529D-C5CF-AE40-8889-5CA1A87BC877}"/>
          </ac:picMkLst>
        </pc:picChg>
      </pc:sldChg>
      <pc:sldChg chg="addSp delSp modSp add mod">
        <pc:chgData name="Li, Chaohang" userId="992fc9f1-2e8e-474f-9361-e6b03ee5dc88" providerId="ADAL" clId="{384A98EB-A370-472A-B68E-5B0FFC7DF4E5}" dt="2024-09-05T07:48:33.743" v="658" actId="20577"/>
        <pc:sldMkLst>
          <pc:docMk/>
          <pc:sldMk cId="3475504168" sldId="2146846837"/>
        </pc:sldMkLst>
        <pc:spChg chg="mod">
          <ac:chgData name="Li, Chaohang" userId="992fc9f1-2e8e-474f-9361-e6b03ee5dc88" providerId="ADAL" clId="{384A98EB-A370-472A-B68E-5B0FFC7DF4E5}" dt="2024-09-05T07:46:47.199" v="557" actId="20577"/>
          <ac:spMkLst>
            <pc:docMk/>
            <pc:sldMk cId="3475504168" sldId="2146846837"/>
            <ac:spMk id="2" creationId="{38596477-EFAC-45E0-B30B-B9CB1132B860}"/>
          </ac:spMkLst>
        </pc:spChg>
        <pc:spChg chg="mod">
          <ac:chgData name="Li, Chaohang" userId="992fc9f1-2e8e-474f-9361-e6b03ee5dc88" providerId="ADAL" clId="{384A98EB-A370-472A-B68E-5B0FFC7DF4E5}" dt="2024-09-05T07:48:12.966" v="624"/>
          <ac:spMkLst>
            <pc:docMk/>
            <pc:sldMk cId="3475504168" sldId="2146846837"/>
            <ac:spMk id="13" creationId="{AEDD33D8-0CE5-EE38-F9C4-8928CA838881}"/>
          </ac:spMkLst>
        </pc:spChg>
        <pc:spChg chg="mod">
          <ac:chgData name="Li, Chaohang" userId="992fc9f1-2e8e-474f-9361-e6b03ee5dc88" providerId="ADAL" clId="{384A98EB-A370-472A-B68E-5B0FFC7DF4E5}" dt="2024-09-05T07:48:19.041" v="628" actId="20577"/>
          <ac:spMkLst>
            <pc:docMk/>
            <pc:sldMk cId="3475504168" sldId="2146846837"/>
            <ac:spMk id="15" creationId="{8FDA8333-86F5-C1BB-C1EB-CC95EEADE4D1}"/>
          </ac:spMkLst>
        </pc:spChg>
        <pc:spChg chg="mod">
          <ac:chgData name="Li, Chaohang" userId="992fc9f1-2e8e-474f-9361-e6b03ee5dc88" providerId="ADAL" clId="{384A98EB-A370-472A-B68E-5B0FFC7DF4E5}" dt="2024-09-05T07:48:33.743" v="658" actId="20577"/>
          <ac:spMkLst>
            <pc:docMk/>
            <pc:sldMk cId="3475504168" sldId="2146846837"/>
            <ac:spMk id="114" creationId="{E8C45494-200A-49A1-AC32-071035F87E51}"/>
          </ac:spMkLst>
        </pc:spChg>
        <pc:grpChg chg="del">
          <ac:chgData name="Li, Chaohang" userId="992fc9f1-2e8e-474f-9361-e6b03ee5dc88" providerId="ADAL" clId="{384A98EB-A370-472A-B68E-5B0FFC7DF4E5}" dt="2024-09-05T07:48:03.098" v="621" actId="478"/>
          <ac:grpSpMkLst>
            <pc:docMk/>
            <pc:sldMk cId="3475504168" sldId="2146846837"/>
            <ac:grpSpMk id="11" creationId="{32BD21DE-144C-7B84-EB6A-2703E783C828}"/>
          </ac:grpSpMkLst>
        </pc:grpChg>
        <pc:grpChg chg="add mod">
          <ac:chgData name="Li, Chaohang" userId="992fc9f1-2e8e-474f-9361-e6b03ee5dc88" providerId="ADAL" clId="{384A98EB-A370-472A-B68E-5B0FFC7DF4E5}" dt="2024-09-05T07:48:17.282" v="626" actId="1076"/>
          <ac:grpSpMkLst>
            <pc:docMk/>
            <pc:sldMk cId="3475504168" sldId="2146846837"/>
            <ac:grpSpMk id="12" creationId="{37A6D1A4-2A3E-C257-AD4B-C0AB7931CE88}"/>
          </ac:grpSpMkLst>
        </pc:grpChg>
        <pc:grpChg chg="del">
          <ac:chgData name="Li, Chaohang" userId="992fc9f1-2e8e-474f-9361-e6b03ee5dc88" providerId="ADAL" clId="{384A98EB-A370-472A-B68E-5B0FFC7DF4E5}" dt="2024-09-05T07:48:00.913" v="620" actId="478"/>
          <ac:grpSpMkLst>
            <pc:docMk/>
            <pc:sldMk cId="3475504168" sldId="2146846837"/>
            <ac:grpSpMk id="24" creationId="{2CA59197-B6CA-C847-8A87-A6A2AC4DD45C}"/>
          </ac:grpSpMkLst>
        </pc:grpChg>
        <pc:picChg chg="add mod">
          <ac:chgData name="Li, Chaohang" userId="992fc9f1-2e8e-474f-9361-e6b03ee5dc88" providerId="ADAL" clId="{384A98EB-A370-472A-B68E-5B0FFC7DF4E5}" dt="2024-09-05T07:48:15.306" v="625" actId="1076"/>
          <ac:picMkLst>
            <pc:docMk/>
            <pc:sldMk cId="3475504168" sldId="2146846837"/>
            <ac:picMk id="5" creationId="{B8FF35EB-46D3-3F77-11B9-0C9346DD2077}"/>
          </ac:picMkLst>
        </pc:picChg>
        <pc:picChg chg="del">
          <ac:chgData name="Li, Chaohang" userId="992fc9f1-2e8e-474f-9361-e6b03ee5dc88" providerId="ADAL" clId="{384A98EB-A370-472A-B68E-5B0FFC7DF4E5}" dt="2024-09-05T07:47:57.134" v="619" actId="478"/>
          <ac:picMkLst>
            <pc:docMk/>
            <pc:sldMk cId="3475504168" sldId="2146846837"/>
            <ac:picMk id="10" creationId="{DCCA529D-C5CF-AE40-8889-5CA1A87BC877}"/>
          </ac:picMkLst>
        </pc:picChg>
      </pc:sldChg>
      <pc:sldChg chg="addSp delSp modSp add mod">
        <pc:chgData name="Li, Chaohang" userId="992fc9f1-2e8e-474f-9361-e6b03ee5dc88" providerId="ADAL" clId="{384A98EB-A370-472A-B68E-5B0FFC7DF4E5}" dt="2024-09-05T07:56:47.256" v="1013" actId="20577"/>
        <pc:sldMkLst>
          <pc:docMk/>
          <pc:sldMk cId="1055211426" sldId="2146846838"/>
        </pc:sldMkLst>
        <pc:spChg chg="mod">
          <ac:chgData name="Li, Chaohang" userId="992fc9f1-2e8e-474f-9361-e6b03ee5dc88" providerId="ADAL" clId="{384A98EB-A370-472A-B68E-5B0FFC7DF4E5}" dt="2024-09-05T07:48:52.608" v="688" actId="20577"/>
          <ac:spMkLst>
            <pc:docMk/>
            <pc:sldMk cId="1055211426" sldId="2146846838"/>
            <ac:spMk id="2" creationId="{38596477-EFAC-45E0-B30B-B9CB1132B860}"/>
          </ac:spMkLst>
        </pc:spChg>
        <pc:spChg chg="mod">
          <ac:chgData name="Li, Chaohang" userId="992fc9f1-2e8e-474f-9361-e6b03ee5dc88" providerId="ADAL" clId="{384A98EB-A370-472A-B68E-5B0FFC7DF4E5}" dt="2024-09-05T07:50:55.984" v="706" actId="1076"/>
          <ac:spMkLst>
            <pc:docMk/>
            <pc:sldMk cId="1055211426" sldId="2146846838"/>
            <ac:spMk id="7" creationId="{A0A94FDD-5E5C-C9D1-AA1B-842DC235E716}"/>
          </ac:spMkLst>
        </pc:spChg>
        <pc:spChg chg="mod">
          <ac:chgData name="Li, Chaohang" userId="992fc9f1-2e8e-474f-9361-e6b03ee5dc88" providerId="ADAL" clId="{384A98EB-A370-472A-B68E-5B0FFC7DF4E5}" dt="2024-09-05T07:51:00.393" v="707" actId="1076"/>
          <ac:spMkLst>
            <pc:docMk/>
            <pc:sldMk cId="1055211426" sldId="2146846838"/>
            <ac:spMk id="8" creationId="{7FFE22BD-8B19-D966-239E-F107BF0EC18E}"/>
          </ac:spMkLst>
        </pc:spChg>
        <pc:spChg chg="mod">
          <ac:chgData name="Li, Chaohang" userId="992fc9f1-2e8e-474f-9361-e6b03ee5dc88" providerId="ADAL" clId="{384A98EB-A370-472A-B68E-5B0FFC7DF4E5}" dt="2024-09-05T07:51:04.025" v="708" actId="1076"/>
          <ac:spMkLst>
            <pc:docMk/>
            <pc:sldMk cId="1055211426" sldId="2146846838"/>
            <ac:spMk id="9" creationId="{E1167563-5E7E-37A8-3A43-A0D43039BBD4}"/>
          </ac:spMkLst>
        </pc:spChg>
        <pc:spChg chg="mod">
          <ac:chgData name="Li, Chaohang" userId="992fc9f1-2e8e-474f-9361-e6b03ee5dc88" providerId="ADAL" clId="{384A98EB-A370-472A-B68E-5B0FFC7DF4E5}" dt="2024-09-05T07:50:43.374" v="699" actId="1076"/>
          <ac:spMkLst>
            <pc:docMk/>
            <pc:sldMk cId="1055211426" sldId="2146846838"/>
            <ac:spMk id="14" creationId="{99579631-CE76-4F6E-BF6E-1E3203774DF7}"/>
          </ac:spMkLst>
        </pc:spChg>
        <pc:spChg chg="mod">
          <ac:chgData name="Li, Chaohang" userId="992fc9f1-2e8e-474f-9361-e6b03ee5dc88" providerId="ADAL" clId="{384A98EB-A370-472A-B68E-5B0FFC7DF4E5}" dt="2024-09-05T07:56:47.256" v="1013" actId="20577"/>
          <ac:spMkLst>
            <pc:docMk/>
            <pc:sldMk cId="1055211426" sldId="2146846838"/>
            <ac:spMk id="114" creationId="{E8C45494-200A-49A1-AC32-071035F87E51}"/>
          </ac:spMkLst>
        </pc:spChg>
        <pc:spChg chg="mod">
          <ac:chgData name="Li, Chaohang" userId="992fc9f1-2e8e-474f-9361-e6b03ee5dc88" providerId="ADAL" clId="{384A98EB-A370-472A-B68E-5B0FFC7DF4E5}" dt="2024-09-05T07:50:37.892" v="698" actId="1076"/>
          <ac:spMkLst>
            <pc:docMk/>
            <pc:sldMk cId="1055211426" sldId="2146846838"/>
            <ac:spMk id="129" creationId="{BC0A115F-291F-4856-B4E0-BE7119621CC9}"/>
          </ac:spMkLst>
        </pc:spChg>
        <pc:grpChg chg="del">
          <ac:chgData name="Li, Chaohang" userId="992fc9f1-2e8e-474f-9361-e6b03ee5dc88" providerId="ADAL" clId="{384A98EB-A370-472A-B68E-5B0FFC7DF4E5}" dt="2024-09-05T07:50:27.102" v="691" actId="478"/>
          <ac:grpSpMkLst>
            <pc:docMk/>
            <pc:sldMk cId="1055211426" sldId="2146846838"/>
            <ac:grpSpMk id="12" creationId="{37A6D1A4-2A3E-C257-AD4B-C0AB7931CE88}"/>
          </ac:grpSpMkLst>
        </pc:grpChg>
        <pc:picChg chg="del">
          <ac:chgData name="Li, Chaohang" userId="992fc9f1-2e8e-474f-9361-e6b03ee5dc88" providerId="ADAL" clId="{384A98EB-A370-472A-B68E-5B0FFC7DF4E5}" dt="2024-09-05T07:50:23.142" v="689" actId="478"/>
          <ac:picMkLst>
            <pc:docMk/>
            <pc:sldMk cId="1055211426" sldId="2146846838"/>
            <ac:picMk id="5" creationId="{B8FF35EB-46D3-3F77-11B9-0C9346DD2077}"/>
          </ac:picMkLst>
        </pc:picChg>
        <pc:picChg chg="del">
          <ac:chgData name="Li, Chaohang" userId="992fc9f1-2e8e-474f-9361-e6b03ee5dc88" providerId="ADAL" clId="{384A98EB-A370-472A-B68E-5B0FFC7DF4E5}" dt="2024-09-05T07:50:24.601" v="690" actId="478"/>
          <ac:picMkLst>
            <pc:docMk/>
            <pc:sldMk cId="1055211426" sldId="2146846838"/>
            <ac:picMk id="6" creationId="{98352BDE-0BC7-0E15-F726-3907BC1005FE}"/>
          </ac:picMkLst>
        </pc:picChg>
        <pc:picChg chg="add mod ord">
          <ac:chgData name="Li, Chaohang" userId="992fc9f1-2e8e-474f-9361-e6b03ee5dc88" providerId="ADAL" clId="{384A98EB-A370-472A-B68E-5B0FFC7DF4E5}" dt="2024-09-05T07:50:48.795" v="705" actId="1076"/>
          <ac:picMkLst>
            <pc:docMk/>
            <pc:sldMk cId="1055211426" sldId="2146846838"/>
            <ac:picMk id="10" creationId="{340DA923-FCCB-7283-0209-050B45F32914}"/>
          </ac:picMkLst>
        </pc:picChg>
      </pc:sldChg>
    </pc:docChg>
  </pc:docChgLst>
  <pc:docChgLst>
    <pc:chgData name="Wang, Yuanchen, Klein" userId="0bb01eae-e1bc-4ea1-962b-0b5342bffbe9" providerId="ADAL" clId="{7CDD91D7-4C68-49E9-9B3B-FBCFB3EBE9E4}"/>
    <pc:docChg chg="modSld">
      <pc:chgData name="Wang, Yuanchen, Klein" userId="0bb01eae-e1bc-4ea1-962b-0b5342bffbe9" providerId="ADAL" clId="{7CDD91D7-4C68-49E9-9B3B-FBCFB3EBE9E4}" dt="2024-09-05T07:53:28.615" v="428" actId="20577"/>
      <pc:docMkLst>
        <pc:docMk/>
      </pc:docMkLst>
      <pc:sldChg chg="modSp mod">
        <pc:chgData name="Wang, Yuanchen, Klein" userId="0bb01eae-e1bc-4ea1-962b-0b5342bffbe9" providerId="ADAL" clId="{7CDD91D7-4C68-49E9-9B3B-FBCFB3EBE9E4}" dt="2024-09-05T07:53:28.615" v="428" actId="20577"/>
        <pc:sldMkLst>
          <pc:docMk/>
          <pc:sldMk cId="40169735" sldId="2146846818"/>
        </pc:sldMkLst>
        <pc:graphicFrameChg chg="mod modGraphic">
          <ac:chgData name="Wang, Yuanchen, Klein" userId="0bb01eae-e1bc-4ea1-962b-0b5342bffbe9" providerId="ADAL" clId="{7CDD91D7-4C68-49E9-9B3B-FBCFB3EBE9E4}" dt="2024-09-05T07:53:28.615" v="428" actId="20577"/>
          <ac:graphicFrameMkLst>
            <pc:docMk/>
            <pc:sldMk cId="40169735" sldId="2146846818"/>
            <ac:graphicFrameMk id="3" creationId="{F49C8509-855D-40FF-A796-68AECE8020FB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DC38217C-92E4-4C89-B0A1-2B10F9B00B7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FAE78503-1FE5-44DA-B6AA-2221C5F8215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395FD8-D620-407A-A6AB-6C16C6D7858D}" type="datetimeFigureOut">
              <a:rPr lang="zh-CN" altLang="en-US" smtClean="0"/>
              <a:t>2024/9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30847EB1-F819-4506-894A-710260CA882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697FBCCB-846A-4155-9EAE-BDF2B600093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AD948-A034-47A5-88FC-BCD4851EFE5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35074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0EE671-81D5-4211-8408-1F855A7E8B6B}" type="datetimeFigureOut">
              <a:rPr lang="en-US" smtClean="0"/>
              <a:t>9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99A10E-8439-46F1-89B6-EF249EC688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104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/>
              <a:t>Demo Process Approach </a:t>
            </a:r>
          </a:p>
          <a:p>
            <a:pPr marL="228600" indent="-228600">
              <a:buAutoNum type="arabicPeriod"/>
            </a:pPr>
            <a:r>
              <a:rPr lang="en-US" altLang="zh-CN"/>
              <a:t>Scope</a:t>
            </a:r>
          </a:p>
          <a:p>
            <a:pPr marL="228600" indent="-228600">
              <a:buAutoNum type="arabicPeriod"/>
            </a:pPr>
            <a:r>
              <a:rPr lang="en-US" altLang="zh-CN"/>
              <a:t>FS solution confirm(detail)</a:t>
            </a:r>
          </a:p>
          <a:p>
            <a:pPr marL="228600" indent="-228600">
              <a:buAutoNum type="arabicPeriod"/>
            </a:pPr>
            <a:r>
              <a:rPr lang="en-US" altLang="zh-CN"/>
              <a:t>List out requirement which out of scope</a:t>
            </a:r>
          </a:p>
          <a:p>
            <a:pPr marL="228600" indent="-228600">
              <a:buAutoNum type="arabicPeriod"/>
            </a:pPr>
            <a:r>
              <a:rPr lang="en-US" altLang="zh-CN"/>
              <a:t>Acceptance criteria</a:t>
            </a:r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A67CA-D7AA-4FDB-B99C-CE7F46A2C05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741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5E6C21-AA88-4497-96CA-4181EB2D65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0227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9A10E-8439-46F1-89B6-EF249EC688D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6276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5E6C21-AA88-4497-96CA-4181EB2D65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7852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5E6C21-AA88-4497-96CA-4181EB2D65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73929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5E6C21-AA88-4497-96CA-4181EB2D65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32402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5E6C21-AA88-4497-96CA-4181EB2D65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22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35095" y="257926"/>
            <a:ext cx="11349520" cy="777792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2400" b="1" cap="none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请勿移动标题位置（微软雅黑</a:t>
            </a:r>
            <a:r>
              <a:rPr lang="en-US" altLang="zh-CN"/>
              <a:t>-</a:t>
            </a:r>
            <a:r>
              <a:rPr lang="zh-CN" altLang="en-US"/>
              <a:t>粗体</a:t>
            </a:r>
            <a:r>
              <a:rPr lang="en-US" altLang="zh-CN"/>
              <a:t>-24</a:t>
            </a:r>
            <a:r>
              <a:rPr lang="zh-CN" altLang="en-US"/>
              <a:t>号）请勿移动标题位置（微软雅黑</a:t>
            </a:r>
            <a:r>
              <a:rPr lang="en-US" altLang="zh-CN"/>
              <a:t>-</a:t>
            </a:r>
            <a:r>
              <a:rPr lang="zh-CN" altLang="en-US"/>
              <a:t>粗体</a:t>
            </a:r>
            <a:r>
              <a:rPr lang="en-US" altLang="zh-CN"/>
              <a:t>-24</a:t>
            </a:r>
            <a:r>
              <a:rPr lang="zh-CN" altLang="en-US"/>
              <a:t>号）请勿移动标题位置（微软雅黑</a:t>
            </a:r>
            <a:r>
              <a:rPr lang="en-US" altLang="zh-CN"/>
              <a:t>-</a:t>
            </a:r>
            <a:r>
              <a:rPr lang="zh-CN" altLang="en-US"/>
              <a:t>粗体</a:t>
            </a:r>
            <a:r>
              <a:rPr lang="en-US" altLang="zh-CN"/>
              <a:t>-24</a:t>
            </a:r>
            <a:r>
              <a:rPr lang="zh-CN" altLang="en-US"/>
              <a:t>号）</a:t>
            </a:r>
            <a:endParaRPr lang="en-US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34BD720-130C-4DE7-BCFA-0A5532A1E9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5961" y="6538451"/>
            <a:ext cx="304799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6C4A2B06-6A4A-490A-BC99-2292816ABB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1240" y="6538450"/>
            <a:ext cx="4114800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GB" sz="100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02438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Master: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5714999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4800" b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4800600"/>
            <a:ext cx="5715000" cy="1905002"/>
          </a:xfr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defRPr sz="3200" b="1" baseline="0">
                <a:solidFill>
                  <a:schemeClr val="tx1"/>
                </a:solidFill>
                <a:latin typeface="微软雅黑" panose="020B0503020204020204" pitchFamily="34" charset="-122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2400" b="0" cap="none" baseline="0">
                <a:solidFill>
                  <a:schemeClr val="tx1"/>
                </a:solidFill>
                <a:latin typeface="微软雅黑" panose="020B0503020204020204" pitchFamily="34" charset="-122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+mn-lt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14" name="Group 13"/>
          <p:cNvGrpSpPr>
            <a:grpSpLocks noChangeAspect="1"/>
          </p:cNvGrpSpPr>
          <p:nvPr userDrawn="1"/>
        </p:nvGrpSpPr>
        <p:grpSpPr>
          <a:xfrm>
            <a:off x="9554578" y="5833249"/>
            <a:ext cx="2256422" cy="605651"/>
            <a:chOff x="9638475" y="1219200"/>
            <a:chExt cx="1389888" cy="373063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微软雅黑" panose="020B0503020204020204" pitchFamily="34" charset="-122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A33B9B6-4A4F-4E1B-A8B0-C068D42685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7741" y="937418"/>
            <a:ext cx="4309200" cy="4524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658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602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29DB7E4C-B67B-4010-A6F5-43CF2FD4ED4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D1EC7A48-F994-4C86-957D-976D85ED8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7" y="332076"/>
            <a:ext cx="11511623" cy="776139"/>
          </a:xfrm>
        </p:spPr>
        <p:txBody>
          <a:bodyPr/>
          <a:lstStyle>
            <a:lvl1pPr>
              <a:lnSpc>
                <a:spcPct val="100000"/>
              </a:lnSpc>
              <a:defRPr sz="3200">
                <a:latin typeface="+mj-ea"/>
                <a:ea typeface="+mj-e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F72EE904-BC4A-4078-B25E-2FFF45386B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1002" y="6519009"/>
            <a:ext cx="5714999" cy="206375"/>
          </a:xfrm>
        </p:spPr>
        <p:txBody>
          <a:bodyPr/>
          <a:lstStyle/>
          <a:p>
            <a:r>
              <a:rPr lang="en-US">
                <a:solidFill>
                  <a:prstClr val="white">
                    <a:lumMod val="65000"/>
                  </a:prstClr>
                </a:solidFill>
              </a:rPr>
              <a:t>Copyright 2019 Accenture. All rights reserved</a:t>
            </a:r>
            <a:endParaRPr lang="en-GB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D61D3E2-E556-4301-876E-9D9230821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06202" y="6519009"/>
            <a:ext cx="304799" cy="206375"/>
          </a:xfrm>
        </p:spPr>
        <p:txBody>
          <a:bodyPr/>
          <a:lstStyle/>
          <a:p>
            <a:fld id="{17D800ED-CB1B-4EBC-A0D2-2190AF4D887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704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5" pos="3727">
          <p15:clr>
            <a:srgbClr val="FBAE40"/>
          </p15:clr>
        </p15:guide>
        <p15:guide id="6" pos="3953">
          <p15:clr>
            <a:srgbClr val="FBAE40"/>
          </p15:clr>
        </p15:guide>
        <p15:guide id="8" orient="horz" pos="4156">
          <p15:clr>
            <a:srgbClr val="FBAE40"/>
          </p15:clr>
        </p15:guide>
        <p15:guide id="10" orient="horz" pos="1026">
          <p15:clr>
            <a:srgbClr val="FBAE40"/>
          </p15:clr>
        </p15:guide>
        <p15:guide id="12" orient="horz" pos="397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354" y="333625"/>
            <a:ext cx="1993900" cy="527151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148097" y="1474530"/>
            <a:ext cx="5523647" cy="4078377"/>
          </a:xfrm>
        </p:spPr>
        <p:txBody>
          <a:bodyPr anchor="ctr"/>
          <a:lstStyle>
            <a:lvl1pPr marL="228594" indent="-228594">
              <a:lnSpc>
                <a:spcPct val="80000"/>
              </a:lnSpc>
              <a:buFont typeface="Arial" panose="020B0604020202020204" pitchFamily="34" charset="0"/>
              <a:buChar char="•"/>
              <a:defRPr lang="zh-CN" altLang="zh-CN" sz="1467" baseline="0">
                <a:effectLst/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altLang="zh-CN" sz="140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xxxx</a:t>
            </a:r>
            <a:endParaRPr lang="zh-CN" altLang="zh-CN" sz="140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2FB4A66-8E4C-4F77-95AF-4BBC25E528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54709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81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0006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000066"/>
                </a:solidFill>
                <a:latin typeface="Arial MT"/>
                <a:cs typeface="Arial MT"/>
              </a:defRPr>
            </a:lvl1pPr>
          </a:lstStyle>
          <a:p>
            <a:pPr marL="12700">
              <a:spcBef>
                <a:spcPts val="40"/>
              </a:spcBef>
            </a:pPr>
            <a:r>
              <a:rPr lang="en-US" spc="-5"/>
              <a:t>30-Jan-13</a:t>
            </a:r>
            <a:r>
              <a:rPr lang="en-US" spc="320"/>
              <a:t> </a:t>
            </a:r>
            <a:r>
              <a:rPr lang="en-US"/>
              <a:t>©</a:t>
            </a:r>
            <a:r>
              <a:rPr lang="en-US" spc="-10"/>
              <a:t> </a:t>
            </a:r>
            <a:r>
              <a:rPr lang="en-US"/>
              <a:t>Werum</a:t>
            </a:r>
            <a:r>
              <a:rPr lang="en-US" spc="-35"/>
              <a:t> </a:t>
            </a:r>
            <a:r>
              <a:rPr lang="en-US" spc="-5"/>
              <a:t>Software</a:t>
            </a:r>
            <a:r>
              <a:rPr lang="en-US"/>
              <a:t> &amp;</a:t>
            </a:r>
            <a:r>
              <a:rPr lang="en-US" spc="-5"/>
              <a:t> Systems</a:t>
            </a:r>
            <a:r>
              <a:rPr lang="en-US" spc="10"/>
              <a:t> </a:t>
            </a:r>
            <a:r>
              <a:rPr lang="en-US" spc="-5"/>
              <a:t>AG</a:t>
            </a:r>
          </a:p>
          <a:p>
            <a:pPr marL="12700"/>
            <a:r>
              <a:rPr lang="en-US"/>
              <a:t>{</a:t>
            </a:r>
            <a:r>
              <a:rPr lang="en-US" spc="-20"/>
              <a:t> </a:t>
            </a:r>
            <a:r>
              <a:rPr lang="en-US" spc="-5"/>
              <a:t>Company</a:t>
            </a:r>
            <a:r>
              <a:rPr lang="en-US" spc="15"/>
              <a:t> </a:t>
            </a:r>
            <a:r>
              <a:rPr lang="en-US" spc="-5"/>
              <a:t>and</a:t>
            </a:r>
            <a:r>
              <a:rPr lang="en-US" spc="-10"/>
              <a:t> </a:t>
            </a:r>
            <a:r>
              <a:rPr lang="en-US" spc="-5"/>
              <a:t>Concept </a:t>
            </a:r>
            <a:r>
              <a:rPr lang="en-US"/>
              <a:t>}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000066"/>
                </a:solidFill>
                <a:latin typeface="Arial MT"/>
                <a:cs typeface="Arial MT"/>
              </a:defRPr>
            </a:lvl1pPr>
          </a:lstStyle>
          <a:p>
            <a:pPr marL="12700">
              <a:spcBef>
                <a:spcPts val="40"/>
              </a:spcBef>
            </a:pPr>
            <a:r>
              <a:rPr lang="en-US" altLang="zh-CN"/>
              <a:t>-</a:t>
            </a:r>
            <a:r>
              <a:rPr lang="zh-CN" altLang="en-US" spc="-40"/>
              <a:t> </a:t>
            </a:r>
            <a:fld id="{81D60167-4931-47E6-BA6A-407CBD079E47}" type="slidenum">
              <a:rPr spc="-5" smtClean="0"/>
              <a:pPr marL="12700">
                <a:spcBef>
                  <a:spcPts val="40"/>
                </a:spcBef>
              </a:pPr>
              <a:t>‹#›</a:t>
            </a:fld>
            <a:r>
              <a:rPr spc="-30"/>
              <a:t> </a:t>
            </a:r>
            <a: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4175445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8552" cy="776139"/>
          </a:xfrm>
        </p:spPr>
        <p:txBody>
          <a:bodyPr/>
          <a:lstStyle>
            <a:lvl1pPr>
              <a:defRPr sz="280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555854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1" i="0">
                <a:solidFill>
                  <a:schemeClr val="bg2">
                    <a:lumMod val="60000"/>
                    <a:lumOff val="40000"/>
                  </a:schemeClr>
                </a:solidFill>
                <a:latin typeface="Arial Bold" charset="0"/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 Bold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chemeClr val="bg2">
                  <a:lumMod val="60000"/>
                  <a:lumOff val="40000"/>
                </a:schemeClr>
              </a:solidFill>
              <a:effectLst/>
              <a:uLnTx/>
              <a:uFillTx/>
              <a:latin typeface="Arial Bold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344488" y="1219200"/>
            <a:ext cx="11499850" cy="652463"/>
          </a:xfrm>
        </p:spPr>
        <p:txBody>
          <a:bodyPr/>
          <a:lstStyle>
            <a:lvl1pPr>
              <a:defRPr sz="1600" b="1">
                <a:solidFill>
                  <a:schemeClr val="accent3"/>
                </a:solidFill>
              </a:defRPr>
            </a:lvl1pPr>
            <a:lvl2pPr marL="0" indent="0">
              <a:buNone/>
              <a:defRPr sz="1600" b="0">
                <a:solidFill>
                  <a:schemeClr val="accent3"/>
                </a:solidFill>
              </a:defRPr>
            </a:lvl2pPr>
            <a:lvl3pPr>
              <a:defRPr sz="1600" b="0">
                <a:solidFill>
                  <a:schemeClr val="accent3"/>
                </a:solidFill>
              </a:defRPr>
            </a:lvl3pPr>
            <a:lvl4pPr>
              <a:defRPr sz="1600" b="0">
                <a:solidFill>
                  <a:schemeClr val="accent3"/>
                </a:solidFill>
              </a:defRPr>
            </a:lvl4pPr>
            <a:lvl5pPr>
              <a:defRPr sz="1600" b="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6616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tings + Greater Than 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882D0-879F-974F-B35F-EE91948B7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F26BFD-3D15-48EA-A458-43E2274B93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22800" y="0"/>
            <a:ext cx="7188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318273"/>
            <a:ext cx="7040753" cy="2221454"/>
          </a:xfrm>
        </p:spPr>
        <p:txBody>
          <a:bodyPr anchor="ctr"/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7AD433-4B77-E741-930C-11F17D433B19}"/>
              </a:ext>
            </a:extLst>
          </p:cNvPr>
          <p:cNvSpPr txBox="1"/>
          <p:nvPr userDrawn="1"/>
        </p:nvSpPr>
        <p:spPr>
          <a:xfrm>
            <a:off x="4490720" y="360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07579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EAD9AED-9987-4CE9-B39D-B256B46200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697992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402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_cover">
    <p:bg>
      <p:bgPr>
        <a:gradFill>
          <a:gsLst>
            <a:gs pos="97000">
              <a:schemeClr val="accent2">
                <a:alpha val="10000"/>
              </a:schemeClr>
            </a:gs>
            <a:gs pos="23000">
              <a:schemeClr val="accent2">
                <a:alpha val="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3A79BC9-ADC9-1A41-87EE-149FAF8F01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15" name="Picture 14" descr="A picture containing drawing, sign&#10;&#10;Description automatically generated">
            <a:extLst>
              <a:ext uri="{FF2B5EF4-FFF2-40B4-BE49-F238E27FC236}">
                <a16:creationId xmlns:a16="http://schemas.microsoft.com/office/drawing/2014/main" id="{9CD7CB42-7AC3-3843-9686-08A719F92B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880" y="1068832"/>
            <a:ext cx="1065589" cy="2814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06FFFD0-38EE-CC4E-B9BF-52F3D0BC32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7121" y="937418"/>
            <a:ext cx="4309200" cy="452466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92D501A-EEF2-C060-DDCB-386BFA8727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880" y="2070000"/>
            <a:ext cx="3130558" cy="304699"/>
          </a:xfrm>
        </p:spPr>
        <p:txBody>
          <a:bodyPr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Graphik" panose="020B0503030202060203" pitchFamily="34" charset="77"/>
              </a:defRPr>
            </a:lvl1pPr>
          </a:lstStyle>
          <a:p>
            <a:r>
              <a:rPr lang="en-GB"/>
              <a:t>Industry x</a:t>
            </a:r>
            <a:endParaRPr lang="en-US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38B80B89-04AA-041F-8605-FFD1EB213C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4880" y="2520000"/>
            <a:ext cx="5556250" cy="146809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80000"/>
              </a:lnSpc>
              <a:defRPr sz="5400" b="1" i="0" cap="none">
                <a:solidFill>
                  <a:schemeClr val="bg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Presentation title goes her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F479BFF-59EC-5743-E135-9F6A6B3CB1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4880" y="4353832"/>
            <a:ext cx="4494212" cy="235449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FFAD0E1B-658F-88D9-B251-7A337F13C7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4880" y="4619197"/>
            <a:ext cx="4494212" cy="209288"/>
          </a:xfrm>
          <a:prstGeom prst="rect">
            <a:avLst/>
          </a:prstGeom>
        </p:spPr>
        <p:txBody>
          <a:bodyPr tIns="0" bIns="0">
            <a:spAutoFit/>
          </a:bodyPr>
          <a:lstStyle>
            <a:lvl1pPr>
              <a:defRPr sz="1600" b="0" cap="none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03142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38A6C49-F9F9-4305-8651-7A305BD27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10E9EC42-3311-4FA1-820C-0B3BB7A811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1240" y="6538450"/>
            <a:ext cx="4114800" cy="20637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lang="en-GB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</a:defRPr>
            </a:lvl1pPr>
          </a:lstStyle>
          <a:p>
            <a:r>
              <a:rPr lang="en-US"/>
              <a:t>Copyright © 2020 Accenture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373E8A-CC5B-476D-B47E-C314C41889F9}"/>
              </a:ext>
            </a:extLst>
          </p:cNvPr>
          <p:cNvSpPr/>
          <p:nvPr userDrawn="1"/>
        </p:nvSpPr>
        <p:spPr bwMode="auto">
          <a:xfrm>
            <a:off x="-1007547" y="1302411"/>
            <a:ext cx="581088" cy="292830"/>
          </a:xfrm>
          <a:prstGeom prst="rect">
            <a:avLst/>
          </a:prstGeom>
          <a:solidFill>
            <a:srgbClr val="A100F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5pPr>
            <a:lvl6pPr marL="25146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6pPr>
            <a:lvl7pPr marL="29718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7pPr>
            <a:lvl8pPr marL="34290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8pPr>
            <a:lvl9pPr marL="38862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69FBA8-FF84-4675-B478-C0A74DA7290C}"/>
              </a:ext>
            </a:extLst>
          </p:cNvPr>
          <p:cNvSpPr/>
          <p:nvPr userDrawn="1"/>
        </p:nvSpPr>
        <p:spPr bwMode="auto">
          <a:xfrm flipV="1">
            <a:off x="-1007547" y="2219278"/>
            <a:ext cx="581088" cy="293396"/>
          </a:xfrm>
          <a:prstGeom prst="rect">
            <a:avLst/>
          </a:prstGeom>
          <a:solidFill>
            <a:srgbClr val="5F0095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5pPr>
            <a:lvl6pPr marL="25146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6pPr>
            <a:lvl7pPr marL="29718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7pPr>
            <a:lvl8pPr marL="34290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8pPr>
            <a:lvl9pPr marL="38862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716B010-266A-49B5-A23E-DAA9765B64F5}"/>
              </a:ext>
            </a:extLst>
          </p:cNvPr>
          <p:cNvSpPr/>
          <p:nvPr userDrawn="1"/>
        </p:nvSpPr>
        <p:spPr bwMode="auto">
          <a:xfrm>
            <a:off x="-1007547" y="1771980"/>
            <a:ext cx="582211" cy="292830"/>
          </a:xfrm>
          <a:prstGeom prst="rect">
            <a:avLst/>
          </a:prstGeom>
          <a:solidFill>
            <a:srgbClr val="7500C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5pPr>
            <a:lvl6pPr marL="25146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6pPr>
            <a:lvl7pPr marL="29718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7pPr>
            <a:lvl8pPr marL="34290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8pPr>
            <a:lvl9pPr marL="38862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6968C9-1B60-46FB-BAE1-85E6FE985593}"/>
              </a:ext>
            </a:extLst>
          </p:cNvPr>
          <p:cNvSpPr/>
          <p:nvPr userDrawn="1"/>
        </p:nvSpPr>
        <p:spPr bwMode="auto">
          <a:xfrm>
            <a:off x="-1005810" y="839492"/>
            <a:ext cx="581088" cy="292830"/>
          </a:xfrm>
          <a:prstGeom prst="rect">
            <a:avLst/>
          </a:prstGeom>
          <a:solidFill>
            <a:srgbClr val="00BAF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5pPr>
            <a:lvl6pPr marL="25146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6pPr>
            <a:lvl7pPr marL="29718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7pPr>
            <a:lvl8pPr marL="34290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8pPr>
            <a:lvl9pPr marL="38862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B59620-6E3B-4A93-A23F-245C8033E344}"/>
              </a:ext>
            </a:extLst>
          </p:cNvPr>
          <p:cNvSpPr/>
          <p:nvPr userDrawn="1"/>
        </p:nvSpPr>
        <p:spPr bwMode="auto">
          <a:xfrm>
            <a:off x="-1007547" y="2709010"/>
            <a:ext cx="581089" cy="293396"/>
          </a:xfrm>
          <a:prstGeom prst="rect">
            <a:avLst/>
          </a:prstGeom>
          <a:solidFill>
            <a:srgbClr val="380089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5pPr>
            <a:lvl6pPr marL="25146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6pPr>
            <a:lvl7pPr marL="29718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7pPr>
            <a:lvl8pPr marL="34290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8pPr>
            <a:lvl9pPr marL="38862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441049-7421-4D43-8B27-FB5C73554580}"/>
              </a:ext>
            </a:extLst>
          </p:cNvPr>
          <p:cNvSpPr/>
          <p:nvPr userDrawn="1"/>
        </p:nvSpPr>
        <p:spPr bwMode="auto">
          <a:xfrm>
            <a:off x="-1004691" y="4527066"/>
            <a:ext cx="578233" cy="29283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048629-E121-4C66-B0D6-925DEE580B13}"/>
              </a:ext>
            </a:extLst>
          </p:cNvPr>
          <p:cNvSpPr/>
          <p:nvPr userDrawn="1"/>
        </p:nvSpPr>
        <p:spPr bwMode="auto">
          <a:xfrm>
            <a:off x="-1004692" y="5496527"/>
            <a:ext cx="578233" cy="292830"/>
          </a:xfrm>
          <a:prstGeom prst="rect">
            <a:avLst/>
          </a:prstGeom>
          <a:solidFill>
            <a:srgbClr val="91919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5pPr>
            <a:lvl6pPr marL="25146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6pPr>
            <a:lvl7pPr marL="29718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7pPr>
            <a:lvl8pPr marL="34290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8pPr>
            <a:lvl9pPr marL="38862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12787B-3791-4B5D-99D1-2FDE32515F3C}"/>
              </a:ext>
            </a:extLst>
          </p:cNvPr>
          <p:cNvSpPr/>
          <p:nvPr userDrawn="1"/>
        </p:nvSpPr>
        <p:spPr bwMode="auto">
          <a:xfrm>
            <a:off x="-1005810" y="5959446"/>
            <a:ext cx="579351" cy="292830"/>
          </a:xfrm>
          <a:prstGeom prst="rect">
            <a:avLst/>
          </a:prstGeom>
          <a:solidFill>
            <a:srgbClr val="6C6C6C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5pPr>
            <a:lvl6pPr marL="25146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6pPr>
            <a:lvl7pPr marL="29718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7pPr>
            <a:lvl8pPr marL="34290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8pPr>
            <a:lvl9pPr marL="38862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2A4611-8F5D-4475-A224-37050E3FE571}"/>
              </a:ext>
            </a:extLst>
          </p:cNvPr>
          <p:cNvSpPr/>
          <p:nvPr userDrawn="1"/>
        </p:nvSpPr>
        <p:spPr bwMode="auto">
          <a:xfrm>
            <a:off x="-1004692" y="5042313"/>
            <a:ext cx="578233" cy="292830"/>
          </a:xfrm>
          <a:prstGeom prst="rect">
            <a:avLst/>
          </a:prstGeom>
          <a:solidFill>
            <a:srgbClr val="ECECEC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5pPr>
            <a:lvl6pPr marL="25146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6pPr>
            <a:lvl7pPr marL="29718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7pPr>
            <a:lvl8pPr marL="34290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8pPr>
            <a:lvl9pPr marL="38862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71CAE1-B49A-4C0A-87AA-FA4026F38F89}"/>
              </a:ext>
            </a:extLst>
          </p:cNvPr>
          <p:cNvSpPr/>
          <p:nvPr userDrawn="1"/>
        </p:nvSpPr>
        <p:spPr bwMode="auto">
          <a:xfrm>
            <a:off x="-1004691" y="4147591"/>
            <a:ext cx="578233" cy="292830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5pPr>
            <a:lvl6pPr marL="25146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6pPr>
            <a:lvl7pPr marL="29718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7pPr>
            <a:lvl8pPr marL="34290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8pPr>
            <a:lvl9pPr marL="3886200" indent="-228600" defTabSz="5080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mplitude-Light" pitchFamily="2" charset="0"/>
                <a:ea typeface="MS PGothic" pitchFamily="34" charset="-128"/>
              </a:defRPr>
            </a:lvl9pPr>
          </a:lstStyle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667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charset="0"/>
              <a:ea typeface="Arial Bold" charset="0"/>
              <a:cs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78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7" r:id="rId3"/>
    <p:sldLayoutId id="2147483668" r:id="rId4"/>
    <p:sldLayoutId id="2147483669" r:id="rId5"/>
    <p:sldLayoutId id="2147483671" r:id="rId6"/>
    <p:sldLayoutId id="2147483673" r:id="rId7"/>
    <p:sldLayoutId id="2147483674" r:id="rId8"/>
    <p:sldLayoutId id="2147483676" r:id="rId9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微软雅黑" panose="020B0503020204020204" pitchFamily="34" charset="-122"/>
          <a:ea typeface="+mn-ea"/>
          <a:cs typeface="+mn-cs"/>
        </a:defRPr>
      </a:lvl1pPr>
      <a:lvl2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微软雅黑" panose="020B0503020204020204" pitchFamily="34" charset="-122"/>
          <a:ea typeface="+mn-ea"/>
          <a:cs typeface="+mn-cs"/>
        </a:defRPr>
      </a:lvl2pPr>
      <a:lvl3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3034" indent="-169858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46066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24">
          <p15:clr>
            <a:srgbClr val="F26B43"/>
          </p15:clr>
        </p15:guide>
        <p15:guide id="2" pos="5640">
          <p15:clr>
            <a:srgbClr val="F26B43"/>
          </p15:clr>
        </p15:guide>
        <p15:guide id="4">
          <p15:clr>
            <a:srgbClr val="F26B43"/>
          </p15:clr>
        </p15:guide>
        <p15:guide id="5" orient="horz" pos="240">
          <p15:clr>
            <a:srgbClr val="F26B43"/>
          </p15:clr>
        </p15:guide>
        <p15:guide id="6" orient="horz">
          <p15:clr>
            <a:srgbClr val="F26B43"/>
          </p15:clr>
        </p15:guide>
        <p15:guide id="7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5" orient="horz" pos="2232">
          <p15:clr>
            <a:srgbClr val="F26B43"/>
          </p15:clr>
        </p15:guide>
        <p15:guide id="16" orient="horz" pos="3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883118B-9819-06BE-C090-44FD8B4EF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8110" y="2072185"/>
            <a:ext cx="4548564" cy="590931"/>
          </a:xfrm>
        </p:spPr>
        <p:txBody>
          <a:bodyPr/>
          <a:lstStyle/>
          <a:p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ACCENTURE INDUSTRY X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E8E52B3-3E3B-6298-BE21-BEF0E7652B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4880" y="2948657"/>
            <a:ext cx="6164765" cy="553998"/>
          </a:xfrm>
        </p:spPr>
        <p:txBody>
          <a:bodyPr wrap="none" lIns="0" tIns="0" rIns="0" bIns="0" anchor="ctr"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altLang="zh-CN" sz="3600">
                <a:latin typeface="微软雅黑" panose="020B0503020204020204" pitchFamily="34" charset="-122"/>
                <a:ea typeface="微软雅黑" panose="020B0503020204020204" pitchFamily="34" charset="-122"/>
              </a:rPr>
              <a:t>YNG ODT </a:t>
            </a:r>
            <a:r>
              <a:rPr lang="zh-CN" altLang="en-US" sz="3600">
                <a:latin typeface="微软雅黑" panose="020B0503020204020204" pitchFamily="34" charset="-122"/>
                <a:ea typeface="微软雅黑" panose="020B0503020204020204" pitchFamily="34" charset="-122"/>
              </a:rPr>
              <a:t>系统操作指导手册</a:t>
            </a:r>
            <a:r>
              <a:rPr lang="en-US" altLang="zh-CN" sz="360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1447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9">
            <a:extLst>
              <a:ext uri="{FF2B5EF4-FFF2-40B4-BE49-F238E27FC236}">
                <a16:creationId xmlns:a16="http://schemas.microsoft.com/office/drawing/2014/main" id="{1DFAD350-C27E-69A2-D241-F98CD671EA59}"/>
              </a:ext>
            </a:extLst>
          </p:cNvPr>
          <p:cNvSpPr/>
          <p:nvPr/>
        </p:nvSpPr>
        <p:spPr>
          <a:xfrm>
            <a:off x="5666342" y="2803915"/>
            <a:ext cx="4580551" cy="529152"/>
          </a:xfrm>
          <a:custGeom>
            <a:avLst/>
            <a:gdLst>
              <a:gd name="connsiteX0" fmla="*/ 0 w 8614190"/>
              <a:gd name="connsiteY0" fmla="*/ 0 h 499369"/>
              <a:gd name="connsiteX1" fmla="*/ 8614190 w 8614190"/>
              <a:gd name="connsiteY1" fmla="*/ 0 h 499369"/>
              <a:gd name="connsiteX2" fmla="*/ 8614190 w 8614190"/>
              <a:gd name="connsiteY2" fmla="*/ 499369 h 499369"/>
              <a:gd name="connsiteX3" fmla="*/ 0 w 8614190"/>
              <a:gd name="connsiteY3" fmla="*/ 499369 h 499369"/>
              <a:gd name="connsiteX4" fmla="*/ 0 w 8614190"/>
              <a:gd name="connsiteY4" fmla="*/ 0 h 49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4190" h="499369">
                <a:moveTo>
                  <a:pt x="0" y="0"/>
                </a:moveTo>
                <a:lnTo>
                  <a:pt x="8614190" y="0"/>
                </a:lnTo>
                <a:lnTo>
                  <a:pt x="8614190" y="499369"/>
                </a:lnTo>
                <a:lnTo>
                  <a:pt x="0" y="49936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4000">
                <a:srgbClr val="A07DB7"/>
              </a:gs>
              <a:gs pos="100000">
                <a:srgbClr val="FAFAFA"/>
              </a:gs>
              <a:gs pos="0">
                <a:srgbClr val="460073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92000" tIns="0" rIns="0" bIns="0" numCol="1" spcCol="1270" anchor="ctr" anchorCtr="0">
            <a:noAutofit/>
          </a:bodyPr>
          <a:lstStyle/>
          <a:p>
            <a:pPr marL="0" marR="0" lvl="0" indent="0" algn="l" defTabSz="118530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84747F4-CDE1-43F8-8A59-CCFAF02B1260}"/>
              </a:ext>
            </a:extLst>
          </p:cNvPr>
          <p:cNvSpPr/>
          <p:nvPr/>
        </p:nvSpPr>
        <p:spPr>
          <a:xfrm>
            <a:off x="5599519" y="524326"/>
            <a:ext cx="6592481" cy="43877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7663" lvl="0" indent="-347663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3200" b="1">
                <a:latin typeface="KaiTi" panose="02010609060101010101" pitchFamily="49" charset="-122"/>
                <a:ea typeface="KaiTi" panose="02010609060101010101" pitchFamily="49" charset="-122"/>
              </a:rPr>
              <a:t>ODT</a:t>
            </a:r>
            <a:r>
              <a:rPr lang="zh-CN" altLang="en-US" sz="3200" b="1">
                <a:latin typeface="KaiTi" panose="02010609060101010101" pitchFamily="49" charset="-122"/>
                <a:ea typeface="KaiTi" panose="02010609060101010101" pitchFamily="49" charset="-122"/>
              </a:rPr>
              <a:t>培训</a:t>
            </a:r>
            <a:endParaRPr lang="en-US" altLang="zh-CN" sz="32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系统登录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2800" b="1"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质量控制
</a:t>
            </a:r>
            <a:r>
              <a:rPr lang="zh-CN" altLang="en-US" sz="2800" b="1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模型配置</a:t>
            </a:r>
            <a:endParaRPr lang="en-US" altLang="zh-CN" sz="2800" b="1">
              <a:solidFill>
                <a:schemeClr val="bg1"/>
              </a:solidFill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历史记录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endParaRPr lang="en-US" altLang="zh-CN" sz="4000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1AE1BB0-E247-4817-B434-F588EF5446CD}"/>
              </a:ext>
            </a:extLst>
          </p:cNvPr>
          <p:cNvSpPr txBox="1"/>
          <p:nvPr/>
        </p:nvSpPr>
        <p:spPr>
          <a:xfrm>
            <a:off x="5666342" y="125243"/>
            <a:ext cx="1219200" cy="12192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2CC36DB-7437-470B-8684-A62FEC3F8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54709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9209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形用户界面, 应用程序&#10;&#10;描述已自动生成">
            <a:extLst>
              <a:ext uri="{FF2B5EF4-FFF2-40B4-BE49-F238E27FC236}">
                <a16:creationId xmlns:a16="http://schemas.microsoft.com/office/drawing/2014/main" id="{98352BDE-0BC7-0E15-F726-3907BC1005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116" y="1108991"/>
            <a:ext cx="7951470" cy="51130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596477-EFAC-45E0-B30B-B9CB1132B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8552" cy="443070"/>
          </a:xfrm>
        </p:spPr>
        <p:txBody>
          <a:bodyPr vert="horz" wrap="square" lIns="0" tIns="12065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模型配置（</a:t>
            </a:r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1/4</a:t>
            </a: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）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82C2BA-F8F2-477C-A0A2-56D4208C2A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6C6C6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old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6C6C6C">
                  <a:lumMod val="60000"/>
                  <a:lumOff val="40000"/>
                </a:srgbClr>
              </a:solidFill>
              <a:effectLst/>
              <a:uLnTx/>
              <a:uFillTx/>
              <a:latin typeface="Arial Bold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8C45494-200A-49A1-AC32-071035F87E51}"/>
              </a:ext>
            </a:extLst>
          </p:cNvPr>
          <p:cNvSpPr txBox="1">
            <a:spLocks/>
          </p:cNvSpPr>
          <p:nvPr/>
        </p:nvSpPr>
        <p:spPr>
          <a:xfrm>
            <a:off x="345018" y="1070069"/>
            <a:ext cx="3895512" cy="5345686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终端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电脑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/PAD</a:t>
            </a:r>
            <a:endParaRPr lang="en-US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菜单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模型配置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角色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技术员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前提条件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N/A</a:t>
            </a:r>
            <a:endParaRPr lang="en-US" sz="2000" b="0">
              <a:latin typeface="+mn-lt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具体操作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‘模型配置’；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‘新增’，系统弹出配置新增页面：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3266" lvl="4" indent="-4572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在新增内容输入‘</a:t>
            </a:r>
            <a:r>
              <a:rPr lang="en-US" altLang="zh-CN" sz="2000">
                <a:latin typeface="KaiTi" panose="02010609060101010101" pitchFamily="49" charset="-122"/>
                <a:ea typeface="KaiTi" panose="02010609060101010101" pitchFamily="49" charset="-122"/>
              </a:rPr>
              <a:t>SKU</a:t>
            </a: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’‘标准值’‘下限值’‘上限值’</a:t>
            </a:r>
            <a:endParaRPr lang="en-US" altLang="zh-CN" sz="200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3266" lvl="4" indent="-4572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确定”，数据保存在系统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3266" lvl="4" indent="-4572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取消”，新增操作取消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29" name="椭圆 128">
            <a:extLst>
              <a:ext uri="{FF2B5EF4-FFF2-40B4-BE49-F238E27FC236}">
                <a16:creationId xmlns:a16="http://schemas.microsoft.com/office/drawing/2014/main" id="{BC0A115F-291F-4856-B4E0-BE7119621CC9}"/>
              </a:ext>
            </a:extLst>
          </p:cNvPr>
          <p:cNvSpPr/>
          <p:nvPr/>
        </p:nvSpPr>
        <p:spPr>
          <a:xfrm>
            <a:off x="4889624" y="203870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1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99579631-CE76-4F6E-BF6E-1E3203774DF7}"/>
              </a:ext>
            </a:extLst>
          </p:cNvPr>
          <p:cNvSpPr/>
          <p:nvPr/>
        </p:nvSpPr>
        <p:spPr>
          <a:xfrm>
            <a:off x="11689265" y="1519203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2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A0A94FDD-5E5C-C9D1-AA1B-842DC235E716}"/>
              </a:ext>
            </a:extLst>
          </p:cNvPr>
          <p:cNvSpPr/>
          <p:nvPr/>
        </p:nvSpPr>
        <p:spPr>
          <a:xfrm>
            <a:off x="10764009" y="2203392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3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7FFE22BD-8B19-D966-239E-F107BF0EC18E}"/>
              </a:ext>
            </a:extLst>
          </p:cNvPr>
          <p:cNvSpPr/>
          <p:nvPr/>
        </p:nvSpPr>
        <p:spPr>
          <a:xfrm>
            <a:off x="11567408" y="218242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4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E1167563-5E7E-37A8-3A43-A0D43039BBD4}"/>
              </a:ext>
            </a:extLst>
          </p:cNvPr>
          <p:cNvSpPr/>
          <p:nvPr/>
        </p:nvSpPr>
        <p:spPr>
          <a:xfrm>
            <a:off x="10328581" y="1519203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5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0892B9B9-C617-0301-9B5D-9F452828D5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1953" y="2212080"/>
            <a:ext cx="3796007" cy="4439917"/>
          </a:xfrm>
          <a:prstGeom prst="rect">
            <a:avLst/>
          </a:prstGeom>
        </p:spPr>
      </p:pic>
      <p:grpSp>
        <p:nvGrpSpPr>
          <p:cNvPr id="15" name="组合 14">
            <a:extLst>
              <a:ext uri="{FF2B5EF4-FFF2-40B4-BE49-F238E27FC236}">
                <a16:creationId xmlns:a16="http://schemas.microsoft.com/office/drawing/2014/main" id="{D4C453E3-29AC-4054-63E0-9CFF2BFB18D8}"/>
              </a:ext>
            </a:extLst>
          </p:cNvPr>
          <p:cNvGrpSpPr/>
          <p:nvPr/>
        </p:nvGrpSpPr>
        <p:grpSpPr>
          <a:xfrm>
            <a:off x="5371839" y="2262533"/>
            <a:ext cx="740228" cy="498533"/>
            <a:chOff x="5371839" y="2262533"/>
            <a:chExt cx="740228" cy="498533"/>
          </a:xfrm>
        </p:grpSpPr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4CC14403-81F3-A340-06A0-1BFCA16F8FD9}"/>
                </a:ext>
              </a:extLst>
            </p:cNvPr>
            <p:cNvSpPr/>
            <p:nvPr/>
          </p:nvSpPr>
          <p:spPr>
            <a:xfrm>
              <a:off x="5587648" y="234711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CB9AC252-FDED-1F0A-B1B1-F7E592B6A17B}"/>
                </a:ext>
              </a:extLst>
            </p:cNvPr>
            <p:cNvSpPr/>
            <p:nvPr/>
          </p:nvSpPr>
          <p:spPr>
            <a:xfrm>
              <a:off x="5371839" y="2262533"/>
              <a:ext cx="740228" cy="49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2.1</a:t>
              </a:r>
              <a:endParaRPr lang="zh-CN" altLang="en-US" sz="1600"/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FA7B2A57-E10A-DE5B-2F5B-5627C20B7EDF}"/>
              </a:ext>
            </a:extLst>
          </p:cNvPr>
          <p:cNvGrpSpPr/>
          <p:nvPr/>
        </p:nvGrpSpPr>
        <p:grpSpPr>
          <a:xfrm>
            <a:off x="8796026" y="6027391"/>
            <a:ext cx="740228" cy="498533"/>
            <a:chOff x="5371839" y="2262533"/>
            <a:chExt cx="740228" cy="498533"/>
          </a:xfrm>
        </p:grpSpPr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D02D77EE-92DA-48EB-B1B9-4F89797B1AF7}"/>
                </a:ext>
              </a:extLst>
            </p:cNvPr>
            <p:cNvSpPr/>
            <p:nvPr/>
          </p:nvSpPr>
          <p:spPr>
            <a:xfrm>
              <a:off x="5587648" y="234711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35EC965C-2D39-2776-CDB7-2D6AE1888BFF}"/>
                </a:ext>
              </a:extLst>
            </p:cNvPr>
            <p:cNvSpPr/>
            <p:nvPr/>
          </p:nvSpPr>
          <p:spPr>
            <a:xfrm>
              <a:off x="5371839" y="2262533"/>
              <a:ext cx="740228" cy="49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2.2</a:t>
              </a:r>
              <a:endParaRPr lang="zh-CN" altLang="en-US" sz="1600"/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57B9FCD4-257A-1A71-330F-488C0CB06FF6}"/>
              </a:ext>
            </a:extLst>
          </p:cNvPr>
          <p:cNvGrpSpPr/>
          <p:nvPr/>
        </p:nvGrpSpPr>
        <p:grpSpPr>
          <a:xfrm>
            <a:off x="5724180" y="6057321"/>
            <a:ext cx="740228" cy="498533"/>
            <a:chOff x="5371839" y="2262533"/>
            <a:chExt cx="740228" cy="498533"/>
          </a:xfrm>
        </p:grpSpPr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A24E3A6E-5B9E-7B27-5F73-15DC80A22426}"/>
                </a:ext>
              </a:extLst>
            </p:cNvPr>
            <p:cNvSpPr/>
            <p:nvPr/>
          </p:nvSpPr>
          <p:spPr>
            <a:xfrm>
              <a:off x="5587648" y="234711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708A6539-F2BD-F96E-1C16-EAB742597487}"/>
                </a:ext>
              </a:extLst>
            </p:cNvPr>
            <p:cNvSpPr/>
            <p:nvPr/>
          </p:nvSpPr>
          <p:spPr>
            <a:xfrm>
              <a:off x="5371839" y="2262533"/>
              <a:ext cx="740228" cy="49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2.3</a:t>
              </a:r>
              <a:endParaRPr lang="zh-CN" alt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28952493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形用户界面, 应用程序&#10;&#10;描述已自动生成">
            <a:extLst>
              <a:ext uri="{FF2B5EF4-FFF2-40B4-BE49-F238E27FC236}">
                <a16:creationId xmlns:a16="http://schemas.microsoft.com/office/drawing/2014/main" id="{98352BDE-0BC7-0E15-F726-3907BC1005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116" y="1108991"/>
            <a:ext cx="7951470" cy="51130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596477-EFAC-45E0-B30B-B9CB1132B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8552" cy="443070"/>
          </a:xfrm>
        </p:spPr>
        <p:txBody>
          <a:bodyPr vert="horz" wrap="square" lIns="0" tIns="12065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模型配置（</a:t>
            </a:r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2/4</a:t>
            </a: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）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82C2BA-F8F2-477C-A0A2-56D4208C2A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6C6C6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old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6C6C6C">
                  <a:lumMod val="60000"/>
                  <a:lumOff val="40000"/>
                </a:srgbClr>
              </a:solidFill>
              <a:effectLst/>
              <a:uLnTx/>
              <a:uFillTx/>
              <a:latin typeface="Arial Bold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8C45494-200A-49A1-AC32-071035F87E51}"/>
              </a:ext>
            </a:extLst>
          </p:cNvPr>
          <p:cNvSpPr txBox="1">
            <a:spLocks/>
          </p:cNvSpPr>
          <p:nvPr/>
        </p:nvSpPr>
        <p:spPr>
          <a:xfrm>
            <a:off x="345018" y="1070069"/>
            <a:ext cx="3895512" cy="5345686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终端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电脑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/PAD</a:t>
            </a:r>
            <a:endParaRPr lang="en-US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菜单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模型配置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角色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技术员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前提条件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N/A</a:t>
            </a:r>
            <a:endParaRPr lang="en-US" sz="2000" b="0">
              <a:latin typeface="+mn-lt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具体操作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 startAt="3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‘编辑’，系统弹出配置新增页面：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3266" lvl="4" indent="-4572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在修改内容输入 ‘标准值’‘下限值’‘上限值’</a:t>
            </a:r>
            <a:endParaRPr lang="en-US" altLang="zh-CN" sz="200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3266" lvl="4" indent="-4572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确定”，数据保存在系统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3266" lvl="4" indent="-4572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取消”，新增操作取消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29" name="椭圆 128">
            <a:extLst>
              <a:ext uri="{FF2B5EF4-FFF2-40B4-BE49-F238E27FC236}">
                <a16:creationId xmlns:a16="http://schemas.microsoft.com/office/drawing/2014/main" id="{BC0A115F-291F-4856-B4E0-BE7119621CC9}"/>
              </a:ext>
            </a:extLst>
          </p:cNvPr>
          <p:cNvSpPr/>
          <p:nvPr/>
        </p:nvSpPr>
        <p:spPr>
          <a:xfrm>
            <a:off x="4889624" y="203870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1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99579631-CE76-4F6E-BF6E-1E3203774DF7}"/>
              </a:ext>
            </a:extLst>
          </p:cNvPr>
          <p:cNvSpPr/>
          <p:nvPr/>
        </p:nvSpPr>
        <p:spPr>
          <a:xfrm>
            <a:off x="11689265" y="1519203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2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A0A94FDD-5E5C-C9D1-AA1B-842DC235E716}"/>
              </a:ext>
            </a:extLst>
          </p:cNvPr>
          <p:cNvSpPr/>
          <p:nvPr/>
        </p:nvSpPr>
        <p:spPr>
          <a:xfrm>
            <a:off x="10764009" y="2203392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3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7FFE22BD-8B19-D966-239E-F107BF0EC18E}"/>
              </a:ext>
            </a:extLst>
          </p:cNvPr>
          <p:cNvSpPr/>
          <p:nvPr/>
        </p:nvSpPr>
        <p:spPr>
          <a:xfrm>
            <a:off x="11567408" y="218242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4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E1167563-5E7E-37A8-3A43-A0D43039BBD4}"/>
              </a:ext>
            </a:extLst>
          </p:cNvPr>
          <p:cNvSpPr/>
          <p:nvPr/>
        </p:nvSpPr>
        <p:spPr>
          <a:xfrm>
            <a:off x="10328581" y="1519203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5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3F7CA6E-6E11-83E2-2CBC-70E088C4D0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0501" y="2558446"/>
            <a:ext cx="3111334" cy="3664237"/>
          </a:xfrm>
          <a:prstGeom prst="rect">
            <a:avLst/>
          </a:prstGeom>
        </p:spPr>
      </p:pic>
      <p:grpSp>
        <p:nvGrpSpPr>
          <p:cNvPr id="15" name="组合 14">
            <a:extLst>
              <a:ext uri="{FF2B5EF4-FFF2-40B4-BE49-F238E27FC236}">
                <a16:creationId xmlns:a16="http://schemas.microsoft.com/office/drawing/2014/main" id="{D4C453E3-29AC-4054-63E0-9CFF2BFB18D8}"/>
              </a:ext>
            </a:extLst>
          </p:cNvPr>
          <p:cNvGrpSpPr/>
          <p:nvPr/>
        </p:nvGrpSpPr>
        <p:grpSpPr>
          <a:xfrm>
            <a:off x="5591891" y="2511800"/>
            <a:ext cx="740228" cy="498533"/>
            <a:chOff x="5371839" y="2262533"/>
            <a:chExt cx="740228" cy="498533"/>
          </a:xfrm>
        </p:grpSpPr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4CC14403-81F3-A340-06A0-1BFCA16F8FD9}"/>
                </a:ext>
              </a:extLst>
            </p:cNvPr>
            <p:cNvSpPr/>
            <p:nvPr/>
          </p:nvSpPr>
          <p:spPr>
            <a:xfrm>
              <a:off x="5587648" y="234711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CB9AC252-FDED-1F0A-B1B1-F7E592B6A17B}"/>
                </a:ext>
              </a:extLst>
            </p:cNvPr>
            <p:cNvSpPr/>
            <p:nvPr/>
          </p:nvSpPr>
          <p:spPr>
            <a:xfrm>
              <a:off x="5371839" y="2262533"/>
              <a:ext cx="740228" cy="49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3.1</a:t>
              </a:r>
              <a:endParaRPr lang="zh-CN" altLang="en-US" sz="1600"/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FA7B2A57-E10A-DE5B-2F5B-5627C20B7EDF}"/>
              </a:ext>
            </a:extLst>
          </p:cNvPr>
          <p:cNvGrpSpPr/>
          <p:nvPr/>
        </p:nvGrpSpPr>
        <p:grpSpPr>
          <a:xfrm>
            <a:off x="8208566" y="5749009"/>
            <a:ext cx="740228" cy="498533"/>
            <a:chOff x="5371839" y="2262533"/>
            <a:chExt cx="740228" cy="498533"/>
          </a:xfrm>
        </p:grpSpPr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D02D77EE-92DA-48EB-B1B9-4F89797B1AF7}"/>
                </a:ext>
              </a:extLst>
            </p:cNvPr>
            <p:cNvSpPr/>
            <p:nvPr/>
          </p:nvSpPr>
          <p:spPr>
            <a:xfrm>
              <a:off x="5587648" y="234711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35EC965C-2D39-2776-CDB7-2D6AE1888BFF}"/>
                </a:ext>
              </a:extLst>
            </p:cNvPr>
            <p:cNvSpPr/>
            <p:nvPr/>
          </p:nvSpPr>
          <p:spPr>
            <a:xfrm>
              <a:off x="5371839" y="2262533"/>
              <a:ext cx="740228" cy="49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3.2</a:t>
              </a:r>
              <a:endParaRPr lang="zh-CN" altLang="en-US" sz="1600"/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57B9FCD4-257A-1A71-330F-488C0CB06FF6}"/>
              </a:ext>
            </a:extLst>
          </p:cNvPr>
          <p:cNvGrpSpPr/>
          <p:nvPr/>
        </p:nvGrpSpPr>
        <p:grpSpPr>
          <a:xfrm>
            <a:off x="5768135" y="5723813"/>
            <a:ext cx="740228" cy="498533"/>
            <a:chOff x="5371839" y="2262533"/>
            <a:chExt cx="740228" cy="498533"/>
          </a:xfrm>
        </p:grpSpPr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A24E3A6E-5B9E-7B27-5F73-15DC80A22426}"/>
                </a:ext>
              </a:extLst>
            </p:cNvPr>
            <p:cNvSpPr/>
            <p:nvPr/>
          </p:nvSpPr>
          <p:spPr>
            <a:xfrm>
              <a:off x="5587648" y="234711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708A6539-F2BD-F96E-1C16-EAB742597487}"/>
                </a:ext>
              </a:extLst>
            </p:cNvPr>
            <p:cNvSpPr/>
            <p:nvPr/>
          </p:nvSpPr>
          <p:spPr>
            <a:xfrm>
              <a:off x="5371839" y="2262533"/>
              <a:ext cx="740228" cy="49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3.3</a:t>
              </a:r>
              <a:endParaRPr lang="zh-CN" alt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22068890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形用户界面, 应用程序&#10;&#10;描述已自动生成">
            <a:extLst>
              <a:ext uri="{FF2B5EF4-FFF2-40B4-BE49-F238E27FC236}">
                <a16:creationId xmlns:a16="http://schemas.microsoft.com/office/drawing/2014/main" id="{98352BDE-0BC7-0E15-F726-3907BC1005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116" y="1108991"/>
            <a:ext cx="7951470" cy="51130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596477-EFAC-45E0-B30B-B9CB1132B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8552" cy="443070"/>
          </a:xfrm>
        </p:spPr>
        <p:txBody>
          <a:bodyPr vert="horz" wrap="square" lIns="0" tIns="12065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模型配置（</a:t>
            </a:r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3/4</a:t>
            </a: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）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82C2BA-F8F2-477C-A0A2-56D4208C2A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6C6C6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old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6C6C6C">
                  <a:lumMod val="60000"/>
                  <a:lumOff val="40000"/>
                </a:srgbClr>
              </a:solidFill>
              <a:effectLst/>
              <a:uLnTx/>
              <a:uFillTx/>
              <a:latin typeface="Arial Bold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8C45494-200A-49A1-AC32-071035F87E51}"/>
              </a:ext>
            </a:extLst>
          </p:cNvPr>
          <p:cNvSpPr txBox="1">
            <a:spLocks/>
          </p:cNvSpPr>
          <p:nvPr/>
        </p:nvSpPr>
        <p:spPr>
          <a:xfrm>
            <a:off x="345018" y="1070069"/>
            <a:ext cx="3895512" cy="5345686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终端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电脑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/PAD</a:t>
            </a:r>
            <a:endParaRPr lang="en-US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菜单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模型配置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角色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技术员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前提条件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N/A</a:t>
            </a:r>
            <a:endParaRPr lang="en-US" sz="2000" b="0">
              <a:latin typeface="+mn-lt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具体操作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 startAt="4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‘删除’，系统删除操作提醒页面：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3266" lvl="4" indent="-4572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确定”，数据从系统删除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3266" lvl="4" indent="-4572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取消”，系统操作取消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29" name="椭圆 128">
            <a:extLst>
              <a:ext uri="{FF2B5EF4-FFF2-40B4-BE49-F238E27FC236}">
                <a16:creationId xmlns:a16="http://schemas.microsoft.com/office/drawing/2014/main" id="{BC0A115F-291F-4856-B4E0-BE7119621CC9}"/>
              </a:ext>
            </a:extLst>
          </p:cNvPr>
          <p:cNvSpPr/>
          <p:nvPr/>
        </p:nvSpPr>
        <p:spPr>
          <a:xfrm>
            <a:off x="4889624" y="203870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1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99579631-CE76-4F6E-BF6E-1E3203774DF7}"/>
              </a:ext>
            </a:extLst>
          </p:cNvPr>
          <p:cNvSpPr/>
          <p:nvPr/>
        </p:nvSpPr>
        <p:spPr>
          <a:xfrm>
            <a:off x="11689265" y="1519203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2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A0A94FDD-5E5C-C9D1-AA1B-842DC235E716}"/>
              </a:ext>
            </a:extLst>
          </p:cNvPr>
          <p:cNvSpPr/>
          <p:nvPr/>
        </p:nvSpPr>
        <p:spPr>
          <a:xfrm>
            <a:off x="10764009" y="2203392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3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7FFE22BD-8B19-D966-239E-F107BF0EC18E}"/>
              </a:ext>
            </a:extLst>
          </p:cNvPr>
          <p:cNvSpPr/>
          <p:nvPr/>
        </p:nvSpPr>
        <p:spPr>
          <a:xfrm>
            <a:off x="11567408" y="218242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4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E1167563-5E7E-37A8-3A43-A0D43039BBD4}"/>
              </a:ext>
            </a:extLst>
          </p:cNvPr>
          <p:cNvSpPr/>
          <p:nvPr/>
        </p:nvSpPr>
        <p:spPr>
          <a:xfrm>
            <a:off x="10328581" y="1519203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5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CCA529D-C5CF-AE40-8889-5CA1A87BC8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1145" y="2665639"/>
            <a:ext cx="2409825" cy="1809750"/>
          </a:xfrm>
          <a:prstGeom prst="rect">
            <a:avLst/>
          </a:prstGeom>
        </p:spPr>
      </p:pic>
      <p:grpSp>
        <p:nvGrpSpPr>
          <p:cNvPr id="11" name="组合 10">
            <a:extLst>
              <a:ext uri="{FF2B5EF4-FFF2-40B4-BE49-F238E27FC236}">
                <a16:creationId xmlns:a16="http://schemas.microsoft.com/office/drawing/2014/main" id="{32BD21DE-144C-7B84-EB6A-2703E783C828}"/>
              </a:ext>
            </a:extLst>
          </p:cNvPr>
          <p:cNvGrpSpPr/>
          <p:nvPr/>
        </p:nvGrpSpPr>
        <p:grpSpPr>
          <a:xfrm>
            <a:off x="8758647" y="3665499"/>
            <a:ext cx="740228" cy="498533"/>
            <a:chOff x="5371839" y="2262533"/>
            <a:chExt cx="740228" cy="498533"/>
          </a:xfrm>
        </p:grpSpPr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004DBF36-4657-DF5E-AC30-2D4EF4806DC1}"/>
                </a:ext>
              </a:extLst>
            </p:cNvPr>
            <p:cNvSpPr/>
            <p:nvPr/>
          </p:nvSpPr>
          <p:spPr>
            <a:xfrm>
              <a:off x="5587648" y="234711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B176FD2F-803D-BAA1-AD3B-4B11159EE40E}"/>
                </a:ext>
              </a:extLst>
            </p:cNvPr>
            <p:cNvSpPr/>
            <p:nvPr/>
          </p:nvSpPr>
          <p:spPr>
            <a:xfrm>
              <a:off x="5371839" y="2262533"/>
              <a:ext cx="740228" cy="49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4.1</a:t>
              </a:r>
              <a:endParaRPr lang="zh-CN" altLang="en-US" sz="1600"/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2CA59197-B6CA-C847-8A87-A6A2AC4DD45C}"/>
              </a:ext>
            </a:extLst>
          </p:cNvPr>
          <p:cNvGrpSpPr/>
          <p:nvPr/>
        </p:nvGrpSpPr>
        <p:grpSpPr>
          <a:xfrm>
            <a:off x="6977850" y="3665500"/>
            <a:ext cx="740228" cy="498533"/>
            <a:chOff x="5371839" y="2262533"/>
            <a:chExt cx="740228" cy="498533"/>
          </a:xfrm>
        </p:grpSpPr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7E4FAD37-A613-05C3-8877-CFAF7BF96549}"/>
                </a:ext>
              </a:extLst>
            </p:cNvPr>
            <p:cNvSpPr/>
            <p:nvPr/>
          </p:nvSpPr>
          <p:spPr>
            <a:xfrm>
              <a:off x="5587648" y="234711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B346F09F-57C6-2698-E27A-6EABCE9FC684}"/>
                </a:ext>
              </a:extLst>
            </p:cNvPr>
            <p:cNvSpPr/>
            <p:nvPr/>
          </p:nvSpPr>
          <p:spPr>
            <a:xfrm>
              <a:off x="5371839" y="2262533"/>
              <a:ext cx="740228" cy="49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4.2</a:t>
              </a:r>
              <a:endParaRPr lang="zh-CN" alt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22316830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形用户界面, 应用程序&#10;&#10;描述已自动生成">
            <a:extLst>
              <a:ext uri="{FF2B5EF4-FFF2-40B4-BE49-F238E27FC236}">
                <a16:creationId xmlns:a16="http://schemas.microsoft.com/office/drawing/2014/main" id="{98352BDE-0BC7-0E15-F726-3907BC1005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116" y="1108991"/>
            <a:ext cx="7951470" cy="511301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596477-EFAC-45E0-B30B-B9CB1132B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8552" cy="443070"/>
          </a:xfrm>
        </p:spPr>
        <p:txBody>
          <a:bodyPr vert="horz" wrap="square" lIns="0" tIns="12065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模型配置（</a:t>
            </a:r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4/4</a:t>
            </a: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）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82C2BA-F8F2-477C-A0A2-56D4208C2A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6C6C6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old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6C6C6C">
                  <a:lumMod val="60000"/>
                  <a:lumOff val="40000"/>
                </a:srgbClr>
              </a:solidFill>
              <a:effectLst/>
              <a:uLnTx/>
              <a:uFillTx/>
              <a:latin typeface="Arial Bold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8C45494-200A-49A1-AC32-071035F87E51}"/>
              </a:ext>
            </a:extLst>
          </p:cNvPr>
          <p:cNvSpPr txBox="1">
            <a:spLocks/>
          </p:cNvSpPr>
          <p:nvPr/>
        </p:nvSpPr>
        <p:spPr>
          <a:xfrm>
            <a:off x="345018" y="1070069"/>
            <a:ext cx="3895512" cy="5345686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终端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电脑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/PAD</a:t>
            </a:r>
            <a:endParaRPr lang="en-US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菜单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模型配置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角色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技术员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前提条件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N/A</a:t>
            </a:r>
            <a:endParaRPr lang="en-US" sz="2000" b="0">
              <a:latin typeface="+mn-lt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具体操作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 startAt="5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‘导出’，数据开始下载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29" name="椭圆 128">
            <a:extLst>
              <a:ext uri="{FF2B5EF4-FFF2-40B4-BE49-F238E27FC236}">
                <a16:creationId xmlns:a16="http://schemas.microsoft.com/office/drawing/2014/main" id="{BC0A115F-291F-4856-B4E0-BE7119621CC9}"/>
              </a:ext>
            </a:extLst>
          </p:cNvPr>
          <p:cNvSpPr/>
          <p:nvPr/>
        </p:nvSpPr>
        <p:spPr>
          <a:xfrm>
            <a:off x="4889624" y="203870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1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99579631-CE76-4F6E-BF6E-1E3203774DF7}"/>
              </a:ext>
            </a:extLst>
          </p:cNvPr>
          <p:cNvSpPr/>
          <p:nvPr/>
        </p:nvSpPr>
        <p:spPr>
          <a:xfrm>
            <a:off x="11689265" y="1519203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2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A0A94FDD-5E5C-C9D1-AA1B-842DC235E716}"/>
              </a:ext>
            </a:extLst>
          </p:cNvPr>
          <p:cNvSpPr/>
          <p:nvPr/>
        </p:nvSpPr>
        <p:spPr>
          <a:xfrm>
            <a:off x="10764009" y="2203392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3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7FFE22BD-8B19-D966-239E-F107BF0EC18E}"/>
              </a:ext>
            </a:extLst>
          </p:cNvPr>
          <p:cNvSpPr/>
          <p:nvPr/>
        </p:nvSpPr>
        <p:spPr>
          <a:xfrm>
            <a:off x="11567408" y="218242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4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E1167563-5E7E-37A8-3A43-A0D43039BBD4}"/>
              </a:ext>
            </a:extLst>
          </p:cNvPr>
          <p:cNvSpPr/>
          <p:nvPr/>
        </p:nvSpPr>
        <p:spPr>
          <a:xfrm>
            <a:off x="10328581" y="1519203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5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8FF35EB-46D3-3F77-11B9-0C9346DD20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0020" y="2777994"/>
            <a:ext cx="5172075" cy="2514600"/>
          </a:xfrm>
          <a:prstGeom prst="rect">
            <a:avLst/>
          </a:prstGeom>
        </p:spPr>
      </p:pic>
      <p:grpSp>
        <p:nvGrpSpPr>
          <p:cNvPr id="12" name="组合 11">
            <a:extLst>
              <a:ext uri="{FF2B5EF4-FFF2-40B4-BE49-F238E27FC236}">
                <a16:creationId xmlns:a16="http://schemas.microsoft.com/office/drawing/2014/main" id="{37A6D1A4-2A3E-C257-AD4B-C0AB7931CE88}"/>
              </a:ext>
            </a:extLst>
          </p:cNvPr>
          <p:cNvGrpSpPr/>
          <p:nvPr/>
        </p:nvGrpSpPr>
        <p:grpSpPr>
          <a:xfrm>
            <a:off x="5982789" y="2777994"/>
            <a:ext cx="740228" cy="498533"/>
            <a:chOff x="5371839" y="2262533"/>
            <a:chExt cx="740228" cy="498533"/>
          </a:xfrm>
        </p:grpSpPr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AEDD33D8-0CE5-EE38-F9C4-8928CA838881}"/>
                </a:ext>
              </a:extLst>
            </p:cNvPr>
            <p:cNvSpPr/>
            <p:nvPr/>
          </p:nvSpPr>
          <p:spPr>
            <a:xfrm>
              <a:off x="5587648" y="234711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8FDA8333-86F5-C1BB-C1EB-CC95EEADE4D1}"/>
                </a:ext>
              </a:extLst>
            </p:cNvPr>
            <p:cNvSpPr/>
            <p:nvPr/>
          </p:nvSpPr>
          <p:spPr>
            <a:xfrm>
              <a:off x="5371839" y="2262533"/>
              <a:ext cx="740228" cy="49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/>
                <a:t>5.1</a:t>
              </a:r>
              <a:endParaRPr lang="zh-CN" alt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34755041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9">
            <a:extLst>
              <a:ext uri="{FF2B5EF4-FFF2-40B4-BE49-F238E27FC236}">
                <a16:creationId xmlns:a16="http://schemas.microsoft.com/office/drawing/2014/main" id="{1DFAD350-C27E-69A2-D241-F98CD671EA59}"/>
              </a:ext>
            </a:extLst>
          </p:cNvPr>
          <p:cNvSpPr/>
          <p:nvPr/>
        </p:nvSpPr>
        <p:spPr>
          <a:xfrm>
            <a:off x="5666342" y="3478829"/>
            <a:ext cx="4580551" cy="529152"/>
          </a:xfrm>
          <a:custGeom>
            <a:avLst/>
            <a:gdLst>
              <a:gd name="connsiteX0" fmla="*/ 0 w 8614190"/>
              <a:gd name="connsiteY0" fmla="*/ 0 h 499369"/>
              <a:gd name="connsiteX1" fmla="*/ 8614190 w 8614190"/>
              <a:gd name="connsiteY1" fmla="*/ 0 h 499369"/>
              <a:gd name="connsiteX2" fmla="*/ 8614190 w 8614190"/>
              <a:gd name="connsiteY2" fmla="*/ 499369 h 499369"/>
              <a:gd name="connsiteX3" fmla="*/ 0 w 8614190"/>
              <a:gd name="connsiteY3" fmla="*/ 499369 h 499369"/>
              <a:gd name="connsiteX4" fmla="*/ 0 w 8614190"/>
              <a:gd name="connsiteY4" fmla="*/ 0 h 49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4190" h="499369">
                <a:moveTo>
                  <a:pt x="0" y="0"/>
                </a:moveTo>
                <a:lnTo>
                  <a:pt x="8614190" y="0"/>
                </a:lnTo>
                <a:lnTo>
                  <a:pt x="8614190" y="499369"/>
                </a:lnTo>
                <a:lnTo>
                  <a:pt x="0" y="49936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4000">
                <a:srgbClr val="A07DB7"/>
              </a:gs>
              <a:gs pos="100000">
                <a:srgbClr val="FAFAFA"/>
              </a:gs>
              <a:gs pos="0">
                <a:srgbClr val="460073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92000" tIns="0" rIns="0" bIns="0" numCol="1" spcCol="1270" anchor="ctr" anchorCtr="0">
            <a:noAutofit/>
          </a:bodyPr>
          <a:lstStyle/>
          <a:p>
            <a:pPr marL="0" marR="0" lvl="0" indent="0" algn="l" defTabSz="118530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84747F4-CDE1-43F8-8A59-CCFAF02B1260}"/>
              </a:ext>
            </a:extLst>
          </p:cNvPr>
          <p:cNvSpPr/>
          <p:nvPr/>
        </p:nvSpPr>
        <p:spPr>
          <a:xfrm>
            <a:off x="5599519" y="524326"/>
            <a:ext cx="6592481" cy="43877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7663" lvl="0" indent="-347663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3200" b="1">
                <a:latin typeface="KaiTi" panose="02010609060101010101" pitchFamily="49" charset="-122"/>
                <a:ea typeface="KaiTi" panose="02010609060101010101" pitchFamily="49" charset="-122"/>
              </a:rPr>
              <a:t>ODT</a:t>
            </a:r>
            <a:r>
              <a:rPr lang="zh-CN" altLang="en-US" sz="3200" b="1">
                <a:latin typeface="KaiTi" panose="02010609060101010101" pitchFamily="49" charset="-122"/>
                <a:ea typeface="KaiTi" panose="02010609060101010101" pitchFamily="49" charset="-122"/>
              </a:rPr>
              <a:t>培训</a:t>
            </a:r>
            <a:endParaRPr lang="en-US" altLang="zh-CN" sz="32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系统登录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2800" b="1"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质量控制
模型配置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历史记录</a:t>
            </a:r>
            <a:endParaRPr lang="en-US" altLang="zh-CN" sz="2800" b="1">
              <a:solidFill>
                <a:schemeClr val="bg1"/>
              </a:solidFill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endParaRPr lang="en-US" altLang="zh-CN" sz="4000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1AE1BB0-E247-4817-B434-F588EF5446CD}"/>
              </a:ext>
            </a:extLst>
          </p:cNvPr>
          <p:cNvSpPr txBox="1"/>
          <p:nvPr/>
        </p:nvSpPr>
        <p:spPr>
          <a:xfrm>
            <a:off x="5666342" y="125243"/>
            <a:ext cx="1219200" cy="12192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2CC36DB-7437-470B-8684-A62FEC3F8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54709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8669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 descr="图形用户界面, 应用程序&#10;&#10;描述已自动生成">
            <a:extLst>
              <a:ext uri="{FF2B5EF4-FFF2-40B4-BE49-F238E27FC236}">
                <a16:creationId xmlns:a16="http://schemas.microsoft.com/office/drawing/2014/main" id="{340DA923-FCCB-7283-0209-050B45F329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608" y="1070069"/>
            <a:ext cx="8049392" cy="53456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596477-EFAC-45E0-B30B-B9CB1132B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8552" cy="443070"/>
          </a:xfrm>
        </p:spPr>
        <p:txBody>
          <a:bodyPr vert="horz" wrap="square" lIns="0" tIns="12065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历史数据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82C2BA-F8F2-477C-A0A2-56D4208C2A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6C6C6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old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6C6C6C">
                  <a:lumMod val="60000"/>
                  <a:lumOff val="40000"/>
                </a:srgbClr>
              </a:solidFill>
              <a:effectLst/>
              <a:uLnTx/>
              <a:uFillTx/>
              <a:latin typeface="Arial Bold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8C45494-200A-49A1-AC32-071035F87E51}"/>
              </a:ext>
            </a:extLst>
          </p:cNvPr>
          <p:cNvSpPr txBox="1">
            <a:spLocks/>
          </p:cNvSpPr>
          <p:nvPr/>
        </p:nvSpPr>
        <p:spPr>
          <a:xfrm>
            <a:off x="345018" y="1070069"/>
            <a:ext cx="3895512" cy="5345686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终端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电脑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/PAD</a:t>
            </a:r>
            <a:endParaRPr lang="en-US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菜单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历史数据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角色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技术员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前提条件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N/A</a:t>
            </a:r>
            <a:endParaRPr lang="en-US" sz="2000" b="0">
              <a:latin typeface="+mn-lt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具体操作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历史记录”；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输入搜索条件‘时间’，‘香型’，‘班次’；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搜索”；系统显示隶属数据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重置”，筛选条件清空，重新输入筛选条件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“导出”，系统下载数据文件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29" name="椭圆 128">
            <a:extLst>
              <a:ext uri="{FF2B5EF4-FFF2-40B4-BE49-F238E27FC236}">
                <a16:creationId xmlns:a16="http://schemas.microsoft.com/office/drawing/2014/main" id="{BC0A115F-291F-4856-B4E0-BE7119621CC9}"/>
              </a:ext>
            </a:extLst>
          </p:cNvPr>
          <p:cNvSpPr/>
          <p:nvPr/>
        </p:nvSpPr>
        <p:spPr>
          <a:xfrm>
            <a:off x="4806382" y="2368080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1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99579631-CE76-4F6E-BF6E-1E3203774DF7}"/>
              </a:ext>
            </a:extLst>
          </p:cNvPr>
          <p:cNvSpPr/>
          <p:nvPr/>
        </p:nvSpPr>
        <p:spPr>
          <a:xfrm>
            <a:off x="8471199" y="136694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2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A0A94FDD-5E5C-C9D1-AA1B-842DC235E716}"/>
              </a:ext>
            </a:extLst>
          </p:cNvPr>
          <p:cNvSpPr/>
          <p:nvPr/>
        </p:nvSpPr>
        <p:spPr>
          <a:xfrm>
            <a:off x="4920319" y="1853048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3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7FFE22BD-8B19-D966-239E-F107BF0EC18E}"/>
              </a:ext>
            </a:extLst>
          </p:cNvPr>
          <p:cNvSpPr/>
          <p:nvPr/>
        </p:nvSpPr>
        <p:spPr>
          <a:xfrm>
            <a:off x="5939989" y="1853048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4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E1167563-5E7E-37A8-3A43-A0D43039BBD4}"/>
              </a:ext>
            </a:extLst>
          </p:cNvPr>
          <p:cNvSpPr/>
          <p:nvPr/>
        </p:nvSpPr>
        <p:spPr>
          <a:xfrm>
            <a:off x="10840209" y="1853048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5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552114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86DCA-E252-45B6-8790-F0CA74EA4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852451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6049F5A-00F3-418E-B9C9-2A870248C1FD}"/>
              </a:ext>
            </a:extLst>
          </p:cNvPr>
          <p:cNvGrpSpPr/>
          <p:nvPr/>
        </p:nvGrpSpPr>
        <p:grpSpPr>
          <a:xfrm>
            <a:off x="1367767" y="1899627"/>
            <a:ext cx="9230459" cy="4082532"/>
            <a:chOff x="1367768" y="1899627"/>
            <a:chExt cx="8792896" cy="385144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6C54A98-827A-441F-B583-090F036D9B8B}"/>
                </a:ext>
              </a:extLst>
            </p:cNvPr>
            <p:cNvSpPr txBox="1"/>
            <p:nvPr/>
          </p:nvSpPr>
          <p:spPr>
            <a:xfrm>
              <a:off x="7695761" y="1908672"/>
              <a:ext cx="2464903" cy="38424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/>
              <a:r>
                <a:rPr lang="zh-CN" altLang="en-US" sz="2400" b="1">
                  <a:latin typeface="KaiTi" panose="02010609060101010101" pitchFamily="49" charset="-122"/>
                  <a:ea typeface="KaiTi" panose="02010609060101010101" pitchFamily="49" charset="-122"/>
                </a:rPr>
                <a:t>培训后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B3CCAD8-BA30-4D7B-AB92-28EBE8B93C5F}"/>
                </a:ext>
              </a:extLst>
            </p:cNvPr>
            <p:cNvSpPr txBox="1"/>
            <p:nvPr/>
          </p:nvSpPr>
          <p:spPr>
            <a:xfrm>
              <a:off x="4501905" y="1908672"/>
              <a:ext cx="2464903" cy="38424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/>
              <a:r>
                <a:rPr lang="zh-CN" altLang="en-US" sz="2400" b="1">
                  <a:latin typeface="KaiTi" panose="02010609060101010101" pitchFamily="49" charset="-122"/>
                  <a:ea typeface="KaiTi" panose="02010609060101010101" pitchFamily="49" charset="-122"/>
                </a:rPr>
                <a:t>培训中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89763C2-57A5-469B-85D2-DAEB0A57A5B0}"/>
                </a:ext>
              </a:extLst>
            </p:cNvPr>
            <p:cNvSpPr txBox="1"/>
            <p:nvPr/>
          </p:nvSpPr>
          <p:spPr>
            <a:xfrm>
              <a:off x="1367768" y="1899627"/>
              <a:ext cx="2464903" cy="385144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/>
              <a:r>
                <a:rPr lang="zh-CN" altLang="en-US" sz="2400" b="1">
                  <a:latin typeface="KaiTi" panose="02010609060101010101" pitchFamily="49" charset="-122"/>
                  <a:ea typeface="KaiTi" panose="02010609060101010101" pitchFamily="49" charset="-122"/>
                </a:rPr>
                <a:t>培训前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1F5E2FA-094B-4131-9176-E2C2E23808FA}"/>
                </a:ext>
              </a:extLst>
            </p:cNvPr>
            <p:cNvSpPr/>
            <p:nvPr/>
          </p:nvSpPr>
          <p:spPr>
            <a:xfrm>
              <a:off x="1689797" y="3155344"/>
              <a:ext cx="1695600" cy="1176793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>
                  <a:latin typeface="KaiTi" panose="02010609060101010101" pitchFamily="49" charset="-122"/>
                  <a:ea typeface="KaiTi" panose="02010609060101010101" pitchFamily="49" charset="-122"/>
                </a:rPr>
                <a:t>确定目标、计划、范围、流程、材料、参与人员</a:t>
              </a:r>
              <a:endParaRPr lang="en-US" altLang="zh-CN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87D0012-1604-4665-84CC-CCDDFFC2D695}"/>
                </a:ext>
              </a:extLst>
            </p:cNvPr>
            <p:cNvSpPr/>
            <p:nvPr/>
          </p:nvSpPr>
          <p:spPr>
            <a:xfrm>
              <a:off x="2399422" y="2473264"/>
              <a:ext cx="413466" cy="429372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>
                  <a:latin typeface="KaiTi" panose="02010609060101010101" pitchFamily="49" charset="-122"/>
                  <a:ea typeface="KaiTi" panose="02010609060101010101" pitchFamily="49" charset="-122"/>
                </a:rPr>
                <a:t>1</a:t>
              </a:r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2154698B-EB58-4E05-B591-088DD94D6BA0}"/>
                </a:ext>
              </a:extLst>
            </p:cNvPr>
            <p:cNvSpPr/>
            <p:nvPr/>
          </p:nvSpPr>
          <p:spPr>
            <a:xfrm>
              <a:off x="4828496" y="3155344"/>
              <a:ext cx="1695693" cy="1176793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>
                  <a:latin typeface="KaiTi" panose="02010609060101010101" pitchFamily="49" charset="-122"/>
                  <a:ea typeface="KaiTi" panose="02010609060101010101" pitchFamily="49" charset="-122"/>
                </a:rPr>
                <a:t>学习系统操作流程</a:t>
              </a:r>
              <a:endParaRPr 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939C072-5DB1-476E-A248-4843DD0A0B55}"/>
                </a:ext>
              </a:extLst>
            </p:cNvPr>
            <p:cNvSpPr/>
            <p:nvPr/>
          </p:nvSpPr>
          <p:spPr>
            <a:xfrm>
              <a:off x="5490414" y="2473264"/>
              <a:ext cx="413466" cy="429372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b="1">
                  <a:latin typeface="KaiTi" panose="02010609060101010101" pitchFamily="49" charset="-122"/>
                  <a:ea typeface="KaiTi" panose="02010609060101010101" pitchFamily="49" charset="-122"/>
                </a:rPr>
                <a:t>2</a:t>
              </a:r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9C137464-4EA5-40EC-B7C8-53B4669BE179}"/>
                </a:ext>
              </a:extLst>
            </p:cNvPr>
            <p:cNvSpPr/>
            <p:nvPr/>
          </p:nvSpPr>
          <p:spPr>
            <a:xfrm>
              <a:off x="8107270" y="3147393"/>
              <a:ext cx="1695693" cy="1176793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>
                  <a:latin typeface="KaiTi" panose="02010609060101010101" pitchFamily="49" charset="-122"/>
                  <a:ea typeface="KaiTi" panose="02010609060101010101" pitchFamily="49" charset="-122"/>
                </a:rPr>
                <a:t>实际操作练习</a:t>
              </a:r>
              <a:endParaRPr lang="en-US" altLang="zh-CN" b="1">
                <a:latin typeface="KaiTi" panose="02010609060101010101" pitchFamily="49" charset="-122"/>
                <a:ea typeface="KaiTi" panose="02010609060101010101" pitchFamily="49" charset="-122"/>
              </a:endParaRPr>
            </a:p>
            <a:p>
              <a:pPr algn="ctr"/>
              <a:r>
                <a:rPr lang="zh-CN" altLang="en-US" b="1">
                  <a:latin typeface="KaiTi" panose="02010609060101010101" pitchFamily="49" charset="-122"/>
                  <a:ea typeface="KaiTi" panose="02010609060101010101" pitchFamily="49" charset="-122"/>
                </a:rPr>
                <a:t>效果反馈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17D2808-914B-4D79-9F46-3936430CB316}"/>
                </a:ext>
              </a:extLst>
            </p:cNvPr>
            <p:cNvSpPr/>
            <p:nvPr/>
          </p:nvSpPr>
          <p:spPr>
            <a:xfrm>
              <a:off x="8769188" y="2473264"/>
              <a:ext cx="413466" cy="429372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b="1">
                  <a:latin typeface="KaiTi" panose="02010609060101010101" pitchFamily="49" charset="-122"/>
                  <a:ea typeface="KaiTi" panose="02010609060101010101" pitchFamily="49" charset="-122"/>
                </a:rPr>
                <a:t>3</a:t>
              </a:r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5" name="Arrow: Right 14">
              <a:extLst>
                <a:ext uri="{FF2B5EF4-FFF2-40B4-BE49-F238E27FC236}">
                  <a16:creationId xmlns:a16="http://schemas.microsoft.com/office/drawing/2014/main" id="{DF8E0DA7-B298-46A9-BE23-62BD121DA0B5}"/>
                </a:ext>
              </a:extLst>
            </p:cNvPr>
            <p:cNvSpPr/>
            <p:nvPr/>
          </p:nvSpPr>
          <p:spPr>
            <a:xfrm>
              <a:off x="3865503" y="3564228"/>
              <a:ext cx="667909" cy="469127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6" name="Arrow: Right 15">
              <a:extLst>
                <a:ext uri="{FF2B5EF4-FFF2-40B4-BE49-F238E27FC236}">
                  <a16:creationId xmlns:a16="http://schemas.microsoft.com/office/drawing/2014/main" id="{E7DC09B2-8ED6-43D0-B73F-AB63A7516F01}"/>
                </a:ext>
              </a:extLst>
            </p:cNvPr>
            <p:cNvSpPr/>
            <p:nvPr/>
          </p:nvSpPr>
          <p:spPr>
            <a:xfrm>
              <a:off x="7036450" y="3564228"/>
              <a:ext cx="667909" cy="469127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2F9B956-64A7-431E-808A-A5EC7B2BBBB3}"/>
              </a:ext>
            </a:extLst>
          </p:cNvPr>
          <p:cNvSpPr txBox="1"/>
          <p:nvPr/>
        </p:nvSpPr>
        <p:spPr>
          <a:xfrm>
            <a:off x="345018" y="1019004"/>
            <a:ext cx="103764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>
                <a:latin typeface="KaiTi" panose="02010609060101010101" pitchFamily="49" charset="-122"/>
                <a:ea typeface="KaiTi" panose="02010609060101010101" pitchFamily="49" charset="-122"/>
              </a:rPr>
              <a:t>目标</a:t>
            </a:r>
            <a:r>
              <a:rPr lang="en-US" altLang="zh-CN" sz="2000" b="1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1">
                <a:latin typeface="KaiTi" panose="02010609060101010101" pitchFamily="49" charset="-122"/>
                <a:ea typeface="KaiTi" panose="02010609060101010101" pitchFamily="49" charset="-122"/>
              </a:rPr>
              <a:t>通过系统培训，清晰系统基本概念、熟悉系统使用操作流程以及培养系统使用习惯。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B93AA9E-3D17-43A7-B278-FA70A43DC906}"/>
              </a:ext>
            </a:extLst>
          </p:cNvPr>
          <p:cNvSpPr txBox="1">
            <a:spLocks/>
          </p:cNvSpPr>
          <p:nvPr/>
        </p:nvSpPr>
        <p:spPr>
          <a:xfrm>
            <a:off x="345018" y="332076"/>
            <a:ext cx="11498552" cy="443070"/>
          </a:xfrm>
          <a:prstGeom prst="rect">
            <a:avLst/>
          </a:prstGeom>
        </p:spPr>
        <p:txBody>
          <a:bodyPr vert="horz" wrap="square" lIns="0" tIns="12065" rIns="0" bIns="0" rtlCol="0" anchor="t" anchorCtr="0">
            <a:spAutoFit/>
          </a:bodyPr>
          <a:lstStyle>
            <a:lvl1pPr marL="12700" indent="0" defTabSz="914377">
              <a:lnSpc>
                <a:spcPct val="100000"/>
              </a:lnSpc>
              <a:spcBef>
                <a:spcPts val="95"/>
              </a:spcBef>
              <a:buNone/>
              <a:defRPr sz="2800" b="1" cap="none" baseline="0">
                <a:latin typeface="KaiTi" panose="02010609060101010101" pitchFamily="49" charset="-122"/>
                <a:ea typeface="KaiTi" panose="02010609060101010101" pitchFamily="49" charset="-122"/>
                <a:cs typeface="+mj-cs"/>
              </a:defRPr>
            </a:lvl1pPr>
          </a:lstStyle>
          <a:p>
            <a:r>
              <a:rPr lang="zh-CN" altLang="en-US"/>
              <a:t>系统培训方法论</a:t>
            </a:r>
          </a:p>
        </p:txBody>
      </p:sp>
    </p:spTree>
    <p:extLst>
      <p:ext uri="{BB962C8B-B14F-4D97-AF65-F5344CB8AC3E}">
        <p14:creationId xmlns:p14="http://schemas.microsoft.com/office/powerpoint/2010/main" val="13108753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A84747F4-CDE1-43F8-8A59-CCFAF02B1260}"/>
              </a:ext>
            </a:extLst>
          </p:cNvPr>
          <p:cNvSpPr/>
          <p:nvPr/>
        </p:nvSpPr>
        <p:spPr>
          <a:xfrm>
            <a:off x="5599519" y="524326"/>
            <a:ext cx="6592481" cy="43877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7663" lvl="0" indent="-347663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3200" b="1">
                <a:latin typeface="KaiTi" panose="02010609060101010101" pitchFamily="49" charset="-122"/>
                <a:ea typeface="KaiTi" panose="02010609060101010101" pitchFamily="49" charset="-122"/>
              </a:rPr>
              <a:t>ODT</a:t>
            </a:r>
            <a:r>
              <a:rPr lang="zh-CN" altLang="en-US" sz="3200" b="1">
                <a:latin typeface="KaiTi" panose="02010609060101010101" pitchFamily="49" charset="-122"/>
                <a:ea typeface="KaiTi" panose="02010609060101010101" pitchFamily="49" charset="-122"/>
              </a:rPr>
              <a:t>培训</a:t>
            </a:r>
            <a:endParaRPr lang="en-US" altLang="zh-CN" sz="32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系统登录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2800" b="1"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质量控制
模型配置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历史记录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endParaRPr lang="en-US" altLang="zh-CN" sz="4000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1AE1BB0-E247-4817-B434-F588EF5446CD}"/>
              </a:ext>
            </a:extLst>
          </p:cNvPr>
          <p:cNvSpPr txBox="1"/>
          <p:nvPr/>
        </p:nvSpPr>
        <p:spPr>
          <a:xfrm>
            <a:off x="5666342" y="125243"/>
            <a:ext cx="1219200" cy="12192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2CC36DB-7437-470B-8684-A62FEC3F8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54709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438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F49C8509-855D-40FF-A796-68AECE8020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418580"/>
              </p:ext>
            </p:extLst>
          </p:nvPr>
        </p:nvGraphicFramePr>
        <p:xfrm>
          <a:off x="149644" y="1346004"/>
          <a:ext cx="11693926" cy="3935192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933487">
                  <a:extLst>
                    <a:ext uri="{9D8B030D-6E8A-4147-A177-3AD203B41FA5}">
                      <a16:colId xmlns:a16="http://schemas.microsoft.com/office/drawing/2014/main" val="803206239"/>
                    </a:ext>
                  </a:extLst>
                </a:gridCol>
                <a:gridCol w="3126100">
                  <a:extLst>
                    <a:ext uri="{9D8B030D-6E8A-4147-A177-3AD203B41FA5}">
                      <a16:colId xmlns:a16="http://schemas.microsoft.com/office/drawing/2014/main" val="3720029343"/>
                    </a:ext>
                  </a:extLst>
                </a:gridCol>
                <a:gridCol w="1800906">
                  <a:extLst>
                    <a:ext uri="{9D8B030D-6E8A-4147-A177-3AD203B41FA5}">
                      <a16:colId xmlns:a16="http://schemas.microsoft.com/office/drawing/2014/main" val="3597480201"/>
                    </a:ext>
                  </a:extLst>
                </a:gridCol>
                <a:gridCol w="1426249">
                  <a:extLst>
                    <a:ext uri="{9D8B030D-6E8A-4147-A177-3AD203B41FA5}">
                      <a16:colId xmlns:a16="http://schemas.microsoft.com/office/drawing/2014/main" val="1861882118"/>
                    </a:ext>
                  </a:extLst>
                </a:gridCol>
                <a:gridCol w="2678436">
                  <a:extLst>
                    <a:ext uri="{9D8B030D-6E8A-4147-A177-3AD203B41FA5}">
                      <a16:colId xmlns:a16="http://schemas.microsoft.com/office/drawing/2014/main" val="3873654902"/>
                    </a:ext>
                  </a:extLst>
                </a:gridCol>
                <a:gridCol w="1728748">
                  <a:extLst>
                    <a:ext uri="{9D8B030D-6E8A-4147-A177-3AD203B41FA5}">
                      <a16:colId xmlns:a16="http://schemas.microsoft.com/office/drawing/2014/main" val="3816540191"/>
                    </a:ext>
                  </a:extLst>
                </a:gridCol>
              </a:tblGrid>
              <a:tr h="43881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项目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培训内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时间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参与人员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准备条件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培训地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6264196"/>
                  </a:ext>
                </a:extLst>
              </a:tr>
              <a:tr h="504556"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1</a:t>
                      </a:r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400" b="1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系统登录</a:t>
                      </a:r>
                      <a:endParaRPr lang="en-US" altLang="zh-CN" sz="2400" b="1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  <a:p>
                      <a:pPr algn="l"/>
                      <a:r>
                        <a:rPr lang="zh-CN" altLang="en-US" sz="2400" b="1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确认模型运行状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5</a:t>
                      </a:r>
                      <a:r>
                        <a:rPr lang="zh-CN" altLang="en-US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分钟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操作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457200" indent="-457200" algn="l">
                        <a:lnSpc>
                          <a:spcPct val="150000"/>
                        </a:lnSpc>
                        <a:buAutoNum type="arabicPeriod"/>
                      </a:pPr>
                      <a:r>
                        <a:rPr lang="zh-CN" altLang="en-US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电脑</a:t>
                      </a:r>
                      <a:r>
                        <a:rPr lang="en-US" altLang="zh-CN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/PAD</a:t>
                      </a:r>
                    </a:p>
                    <a:p>
                      <a:pPr marL="457200" indent="-457200" algn="l">
                        <a:lnSpc>
                          <a:spcPct val="150000"/>
                        </a:lnSpc>
                        <a:buAutoNum type="arabicPeriod"/>
                      </a:pPr>
                      <a:r>
                        <a:rPr lang="zh-CN" altLang="en-US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车间网络</a:t>
                      </a:r>
                      <a:endParaRPr lang="en-US" altLang="zh-CN" sz="2400" b="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  <a:p>
                      <a:pPr marL="457200" indent="-457200" algn="l">
                        <a:lnSpc>
                          <a:spcPct val="150000"/>
                        </a:lnSpc>
                        <a:buAutoNum type="arabicPeriod"/>
                      </a:pPr>
                      <a:r>
                        <a:rPr lang="zh-CN" altLang="en-US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处于生产中</a:t>
                      </a:r>
                      <a:endParaRPr lang="en-US" altLang="zh-CN" sz="2400" b="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l"/>
                      <a:r>
                        <a:rPr lang="en-US" altLang="zh-CN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TBD</a:t>
                      </a:r>
                      <a:endParaRPr lang="zh-CN" altLang="en-US" sz="2400" b="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3522507"/>
                  </a:ext>
                </a:extLst>
              </a:tr>
              <a:tr h="529687"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2</a:t>
                      </a:r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400" b="1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接收模型推荐，给出反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10</a:t>
                      </a:r>
                      <a:r>
                        <a:rPr lang="zh-CN" altLang="en-US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分钟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操作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457200" indent="-457200" algn="l">
                        <a:lnSpc>
                          <a:spcPct val="150000"/>
                        </a:lnSpc>
                        <a:buAutoNum type="arabicPeriod"/>
                      </a:pPr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077891"/>
                  </a:ext>
                </a:extLst>
              </a:tr>
              <a:tr h="621665"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3</a:t>
                      </a:r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400" b="1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查看事情 </a:t>
                      </a:r>
                      <a:r>
                        <a:rPr lang="en-US" altLang="zh-CN" sz="2400" b="1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&amp; </a:t>
                      </a:r>
                      <a:r>
                        <a:rPr lang="zh-CN" altLang="en-US" sz="2400" b="1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异常记录</a:t>
                      </a:r>
                      <a:endParaRPr lang="en-US" altLang="zh-CN" sz="2400" b="1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  <a:p>
                      <a:pPr algn="l"/>
                      <a:r>
                        <a:rPr lang="zh-CN" altLang="en-US" sz="2400" b="1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查看历史记录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10</a:t>
                      </a:r>
                      <a:r>
                        <a:rPr lang="zh-CN" altLang="en-US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分钟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操作员</a:t>
                      </a:r>
                      <a:endParaRPr lang="en-US" altLang="zh-CN" sz="2400" b="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管理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457200" indent="-457200" algn="l">
                        <a:lnSpc>
                          <a:spcPct val="150000"/>
                        </a:lnSpc>
                        <a:buAutoNum type="arabicPeriod"/>
                      </a:pPr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0721805"/>
                  </a:ext>
                </a:extLst>
              </a:tr>
              <a:tr h="504556"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4</a:t>
                      </a:r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400" b="1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模型配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5</a:t>
                      </a:r>
                      <a:r>
                        <a:rPr lang="zh-CN" altLang="en-US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分钟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400" b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管理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457200" indent="-457200" algn="l">
                        <a:lnSpc>
                          <a:spcPct val="150000"/>
                        </a:lnSpc>
                        <a:buAutoNum type="arabicPeriod"/>
                      </a:pPr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403320"/>
                  </a:ext>
                </a:extLst>
              </a:tr>
              <a:tr h="504556"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5</a:t>
                      </a:r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400" b="1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权限管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5</a:t>
                      </a:r>
                      <a:r>
                        <a:rPr lang="zh-CN" altLang="en-US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分钟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400" b="0" dirty="0">
                          <a:latin typeface="KaiTi" panose="02010609060101010101" pitchFamily="49" charset="-122"/>
                          <a:ea typeface="KaiTi" panose="02010609060101010101" pitchFamily="49" charset="-122"/>
                        </a:rPr>
                        <a:t>管理员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457200" indent="-457200" algn="l">
                        <a:lnSpc>
                          <a:spcPct val="150000"/>
                        </a:lnSpc>
                        <a:buAutoNum type="arabicPeriod"/>
                      </a:pPr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zh-CN" altLang="en-US" sz="2400">
                        <a:latin typeface="KaiTi" panose="02010609060101010101" pitchFamily="49" charset="-122"/>
                        <a:ea typeface="KaiTi" panose="02010609060101010101" pitchFamily="49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3431483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212452CC-9CEA-4705-A051-5A53940A8BE7}"/>
              </a:ext>
            </a:extLst>
          </p:cNvPr>
          <p:cNvSpPr txBox="1">
            <a:spLocks/>
          </p:cNvSpPr>
          <p:nvPr/>
        </p:nvSpPr>
        <p:spPr>
          <a:xfrm>
            <a:off x="345018" y="332076"/>
            <a:ext cx="11498552" cy="443070"/>
          </a:xfrm>
          <a:prstGeom prst="rect">
            <a:avLst/>
          </a:prstGeom>
        </p:spPr>
        <p:txBody>
          <a:bodyPr vert="horz" wrap="square" lIns="0" tIns="12065" rIns="0" bIns="0" rtlCol="0" anchor="t" anchorCtr="0">
            <a:spAutoFit/>
          </a:bodyPr>
          <a:lstStyle>
            <a:lvl1pPr marL="12700" indent="0" defTabSz="914377">
              <a:lnSpc>
                <a:spcPct val="100000"/>
              </a:lnSpc>
              <a:spcBef>
                <a:spcPts val="95"/>
              </a:spcBef>
              <a:buNone/>
              <a:defRPr sz="2800" b="1" cap="none" baseline="0">
                <a:latin typeface="KaiTi" panose="02010609060101010101" pitchFamily="49" charset="-122"/>
                <a:ea typeface="KaiTi" panose="02010609060101010101" pitchFamily="49" charset="-122"/>
                <a:cs typeface="+mj-cs"/>
              </a:defRPr>
            </a:lvl1pPr>
          </a:lstStyle>
          <a:p>
            <a:r>
              <a:rPr lang="zh-CN" altLang="en-US"/>
              <a:t>系统培训计划</a:t>
            </a:r>
          </a:p>
        </p:txBody>
      </p:sp>
    </p:spTree>
    <p:extLst>
      <p:ext uri="{BB962C8B-B14F-4D97-AF65-F5344CB8AC3E}">
        <p14:creationId xmlns:p14="http://schemas.microsoft.com/office/powerpoint/2010/main" val="401697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9">
            <a:extLst>
              <a:ext uri="{FF2B5EF4-FFF2-40B4-BE49-F238E27FC236}">
                <a16:creationId xmlns:a16="http://schemas.microsoft.com/office/drawing/2014/main" id="{1DFAD350-C27E-69A2-D241-F98CD671EA59}"/>
              </a:ext>
            </a:extLst>
          </p:cNvPr>
          <p:cNvSpPr/>
          <p:nvPr/>
        </p:nvSpPr>
        <p:spPr>
          <a:xfrm>
            <a:off x="5666342" y="1410545"/>
            <a:ext cx="4580551" cy="529152"/>
          </a:xfrm>
          <a:custGeom>
            <a:avLst/>
            <a:gdLst>
              <a:gd name="connsiteX0" fmla="*/ 0 w 8614190"/>
              <a:gd name="connsiteY0" fmla="*/ 0 h 499369"/>
              <a:gd name="connsiteX1" fmla="*/ 8614190 w 8614190"/>
              <a:gd name="connsiteY1" fmla="*/ 0 h 499369"/>
              <a:gd name="connsiteX2" fmla="*/ 8614190 w 8614190"/>
              <a:gd name="connsiteY2" fmla="*/ 499369 h 499369"/>
              <a:gd name="connsiteX3" fmla="*/ 0 w 8614190"/>
              <a:gd name="connsiteY3" fmla="*/ 499369 h 499369"/>
              <a:gd name="connsiteX4" fmla="*/ 0 w 8614190"/>
              <a:gd name="connsiteY4" fmla="*/ 0 h 49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4190" h="499369">
                <a:moveTo>
                  <a:pt x="0" y="0"/>
                </a:moveTo>
                <a:lnTo>
                  <a:pt x="8614190" y="0"/>
                </a:lnTo>
                <a:lnTo>
                  <a:pt x="8614190" y="499369"/>
                </a:lnTo>
                <a:lnTo>
                  <a:pt x="0" y="49936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4000">
                <a:srgbClr val="A07DB7"/>
              </a:gs>
              <a:gs pos="100000">
                <a:srgbClr val="FAFAFA"/>
              </a:gs>
              <a:gs pos="0">
                <a:srgbClr val="460073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92000" tIns="0" rIns="0" bIns="0" numCol="1" spcCol="1270" anchor="ctr" anchorCtr="0">
            <a:noAutofit/>
          </a:bodyPr>
          <a:lstStyle/>
          <a:p>
            <a:pPr marL="0" marR="0" lvl="0" indent="0" algn="l" defTabSz="118530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84747F4-CDE1-43F8-8A59-CCFAF02B1260}"/>
              </a:ext>
            </a:extLst>
          </p:cNvPr>
          <p:cNvSpPr/>
          <p:nvPr/>
        </p:nvSpPr>
        <p:spPr>
          <a:xfrm>
            <a:off x="5599519" y="524326"/>
            <a:ext cx="6592481" cy="43877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7663" lvl="0" indent="-347663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3200" b="1">
                <a:latin typeface="KaiTi" panose="02010609060101010101" pitchFamily="49" charset="-122"/>
                <a:ea typeface="KaiTi" panose="02010609060101010101" pitchFamily="49" charset="-122"/>
              </a:rPr>
              <a:t>ODT</a:t>
            </a:r>
            <a:r>
              <a:rPr lang="zh-CN" altLang="en-US" sz="3200" b="1">
                <a:latin typeface="KaiTi" panose="02010609060101010101" pitchFamily="49" charset="-122"/>
                <a:ea typeface="KaiTi" panose="02010609060101010101" pitchFamily="49" charset="-122"/>
              </a:rPr>
              <a:t>培训</a:t>
            </a:r>
            <a:endParaRPr lang="en-US" altLang="zh-CN" sz="32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系统登录</a:t>
            </a:r>
            <a:endParaRPr lang="en-US" altLang="zh-CN" sz="2800" b="1">
              <a:solidFill>
                <a:schemeClr val="bg1"/>
              </a:solidFill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2800" b="1"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质量控制
模型配置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历史记录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endParaRPr lang="en-US" altLang="zh-CN" sz="4000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1AE1BB0-E247-4817-B434-F588EF5446CD}"/>
              </a:ext>
            </a:extLst>
          </p:cNvPr>
          <p:cNvSpPr txBox="1"/>
          <p:nvPr/>
        </p:nvSpPr>
        <p:spPr>
          <a:xfrm>
            <a:off x="5666342" y="125243"/>
            <a:ext cx="1219200" cy="12192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2CC36DB-7437-470B-8684-A62FEC3F8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54709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8829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图形用户界面&#10;&#10;描述已自动生成">
            <a:extLst>
              <a:ext uri="{FF2B5EF4-FFF2-40B4-BE49-F238E27FC236}">
                <a16:creationId xmlns:a16="http://schemas.microsoft.com/office/drawing/2014/main" id="{86441187-3A18-5AF9-1E41-F4122C293C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7935" y="922234"/>
            <a:ext cx="8554065" cy="50322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596477-EFAC-45E0-B30B-B9CB1132B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8552" cy="443070"/>
          </a:xfrm>
        </p:spPr>
        <p:txBody>
          <a:bodyPr vert="horz" wrap="square" lIns="0" tIns="12065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zh-CN" altLang="en-US" b="1" dirty="0">
                <a:latin typeface="KaiTi" panose="02010609060101010101" pitchFamily="49" charset="-122"/>
                <a:ea typeface="KaiTi" panose="02010609060101010101" pitchFamily="49" charset="-122"/>
              </a:rPr>
              <a:t>系统登陆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82C2BA-F8F2-477C-A0A2-56D4208C2A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6C6C6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old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6C6C6C">
                  <a:lumMod val="60000"/>
                  <a:lumOff val="40000"/>
                </a:srgbClr>
              </a:solidFill>
              <a:effectLst/>
              <a:uLnTx/>
              <a:uFillTx/>
              <a:latin typeface="Arial Bold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8C45494-200A-49A1-AC32-071035F87E51}"/>
              </a:ext>
            </a:extLst>
          </p:cNvPr>
          <p:cNvSpPr txBox="1">
            <a:spLocks/>
          </p:cNvSpPr>
          <p:nvPr/>
        </p:nvSpPr>
        <p:spPr>
          <a:xfrm>
            <a:off x="345018" y="1070069"/>
            <a:ext cx="3895512" cy="5345686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操作终端</a:t>
            </a:r>
            <a:r>
              <a:rPr 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电脑</a:t>
            </a:r>
            <a:r>
              <a:rPr lang="en-US" altLang="zh-CN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/PAD</a:t>
            </a:r>
            <a:endParaRPr lang="en-US" sz="2000" b="0" dirty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操作菜单：</a:t>
            </a:r>
            <a:r>
              <a:rPr lang="zh-CN" altLang="en-US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系统登录</a:t>
            </a:r>
            <a:endParaRPr lang="en-US" sz="2000" b="0" dirty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操作角色</a:t>
            </a:r>
            <a:r>
              <a:rPr 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用户</a:t>
            </a:r>
            <a:endParaRPr lang="en-US" sz="2000" b="0" dirty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前提条件</a:t>
            </a:r>
            <a:r>
              <a:rPr 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终端联网</a:t>
            </a:r>
            <a:endParaRPr lang="en-US" sz="2000" b="0" dirty="0">
              <a:latin typeface="+mn-lt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具体操作</a:t>
            </a:r>
            <a:r>
              <a:rPr 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: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打开浏览器，输入网址：</a:t>
            </a:r>
            <a:r>
              <a:rPr lang="en-US" altLang="zh-CN" sz="2000" u="sng" dirty="0">
                <a:solidFill>
                  <a:srgbClr val="004DFF"/>
                </a:solidFill>
                <a:latin typeface="+mn-lt"/>
                <a:ea typeface="KaiTi" panose="02010609060101010101" pitchFamily="49" charset="-122"/>
              </a:rPr>
              <a:t>10.157.85.237//</a:t>
            </a:r>
            <a:endParaRPr lang="en-US" altLang="zh-CN" sz="2000" b="0" dirty="0">
              <a:latin typeface="+mn-lt"/>
              <a:ea typeface="KaiTi" panose="02010609060101010101" pitchFamily="49" charset="-122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输入用户名</a:t>
            </a:r>
            <a:r>
              <a:rPr lang="en-US" altLang="zh-CN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/</a:t>
            </a:r>
            <a:r>
              <a:rPr lang="zh-CN" altLang="en-US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密码</a:t>
            </a:r>
            <a:endParaRPr lang="en-US" altLang="zh-CN" sz="2000" b="0" dirty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点击‘</a:t>
            </a:r>
            <a:r>
              <a:rPr lang="zh-CN" altLang="en-US" sz="2000" dirty="0">
                <a:latin typeface="KaiTi" panose="02010609060101010101" pitchFamily="49" charset="-122"/>
                <a:ea typeface="KaiTi" panose="02010609060101010101" pitchFamily="49" charset="-122"/>
              </a:rPr>
              <a:t>登录</a:t>
            </a:r>
            <a:r>
              <a:rPr lang="zh-CN" altLang="en-US" sz="2000" b="0" dirty="0">
                <a:latin typeface="KaiTi" panose="02010609060101010101" pitchFamily="49" charset="-122"/>
                <a:ea typeface="KaiTi" panose="02010609060101010101" pitchFamily="49" charset="-122"/>
              </a:rPr>
              <a:t>’</a:t>
            </a:r>
            <a:endParaRPr lang="en-US" altLang="zh-CN" sz="2000" b="0" dirty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FCD04C1B-C018-4146-8901-3D80B86E5113}"/>
              </a:ext>
            </a:extLst>
          </p:cNvPr>
          <p:cNvSpPr/>
          <p:nvPr/>
        </p:nvSpPr>
        <p:spPr>
          <a:xfrm>
            <a:off x="4662264" y="1315525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latin typeface="KaiTi" panose="02010609060101010101" pitchFamily="49" charset="-122"/>
                <a:ea typeface="KaiTi" panose="02010609060101010101" pitchFamily="49" charset="-122"/>
              </a:rPr>
              <a:t>1</a:t>
            </a:r>
            <a:endParaRPr lang="zh-CN" altLang="en-US" b="1" dirty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25" name="椭圆 124">
            <a:extLst>
              <a:ext uri="{FF2B5EF4-FFF2-40B4-BE49-F238E27FC236}">
                <a16:creationId xmlns:a16="http://schemas.microsoft.com/office/drawing/2014/main" id="{D4EB8E7C-F5A3-4F99-8FCD-33E79DECDFF4}"/>
              </a:ext>
            </a:extLst>
          </p:cNvPr>
          <p:cNvSpPr/>
          <p:nvPr/>
        </p:nvSpPr>
        <p:spPr>
          <a:xfrm>
            <a:off x="7013442" y="2547054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2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129" name="椭圆 128">
            <a:extLst>
              <a:ext uri="{FF2B5EF4-FFF2-40B4-BE49-F238E27FC236}">
                <a16:creationId xmlns:a16="http://schemas.microsoft.com/office/drawing/2014/main" id="{BC0A115F-291F-4856-B4E0-BE7119621CC9}"/>
              </a:ext>
            </a:extLst>
          </p:cNvPr>
          <p:cNvSpPr/>
          <p:nvPr/>
        </p:nvSpPr>
        <p:spPr>
          <a:xfrm>
            <a:off x="7167747" y="3264312"/>
            <a:ext cx="308610" cy="32937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3</a:t>
            </a:r>
            <a:endParaRPr lang="zh-CN" altLang="en-US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167010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9">
            <a:extLst>
              <a:ext uri="{FF2B5EF4-FFF2-40B4-BE49-F238E27FC236}">
                <a16:creationId xmlns:a16="http://schemas.microsoft.com/office/drawing/2014/main" id="{1DFAD350-C27E-69A2-D241-F98CD671EA59}"/>
              </a:ext>
            </a:extLst>
          </p:cNvPr>
          <p:cNvSpPr/>
          <p:nvPr/>
        </p:nvSpPr>
        <p:spPr>
          <a:xfrm>
            <a:off x="5666342" y="2085459"/>
            <a:ext cx="4580551" cy="529152"/>
          </a:xfrm>
          <a:custGeom>
            <a:avLst/>
            <a:gdLst>
              <a:gd name="connsiteX0" fmla="*/ 0 w 8614190"/>
              <a:gd name="connsiteY0" fmla="*/ 0 h 499369"/>
              <a:gd name="connsiteX1" fmla="*/ 8614190 w 8614190"/>
              <a:gd name="connsiteY1" fmla="*/ 0 h 499369"/>
              <a:gd name="connsiteX2" fmla="*/ 8614190 w 8614190"/>
              <a:gd name="connsiteY2" fmla="*/ 499369 h 499369"/>
              <a:gd name="connsiteX3" fmla="*/ 0 w 8614190"/>
              <a:gd name="connsiteY3" fmla="*/ 499369 h 499369"/>
              <a:gd name="connsiteX4" fmla="*/ 0 w 8614190"/>
              <a:gd name="connsiteY4" fmla="*/ 0 h 49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14190" h="499369">
                <a:moveTo>
                  <a:pt x="0" y="0"/>
                </a:moveTo>
                <a:lnTo>
                  <a:pt x="8614190" y="0"/>
                </a:lnTo>
                <a:lnTo>
                  <a:pt x="8614190" y="499369"/>
                </a:lnTo>
                <a:lnTo>
                  <a:pt x="0" y="49936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4000">
                <a:srgbClr val="A07DB7"/>
              </a:gs>
              <a:gs pos="100000">
                <a:srgbClr val="FAFAFA"/>
              </a:gs>
              <a:gs pos="0">
                <a:srgbClr val="460073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92000" tIns="0" rIns="0" bIns="0" numCol="1" spcCol="1270" anchor="ctr" anchorCtr="0">
            <a:noAutofit/>
          </a:bodyPr>
          <a:lstStyle/>
          <a:p>
            <a:pPr marL="0" marR="0" lvl="0" indent="0" algn="l" defTabSz="118530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3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84747F4-CDE1-43F8-8A59-CCFAF02B1260}"/>
              </a:ext>
            </a:extLst>
          </p:cNvPr>
          <p:cNvSpPr/>
          <p:nvPr/>
        </p:nvSpPr>
        <p:spPr>
          <a:xfrm>
            <a:off x="5599519" y="524326"/>
            <a:ext cx="6592481" cy="43877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7663" lvl="0" indent="-347663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3200" b="1">
                <a:latin typeface="KaiTi" panose="02010609060101010101" pitchFamily="49" charset="-122"/>
                <a:ea typeface="KaiTi" panose="02010609060101010101" pitchFamily="49" charset="-122"/>
              </a:rPr>
              <a:t>ODT</a:t>
            </a:r>
            <a:r>
              <a:rPr lang="zh-CN" altLang="en-US" sz="3200" b="1">
                <a:latin typeface="KaiTi" panose="02010609060101010101" pitchFamily="49" charset="-122"/>
                <a:ea typeface="KaiTi" panose="02010609060101010101" pitchFamily="49" charset="-122"/>
              </a:rPr>
              <a:t>培训</a:t>
            </a:r>
            <a:endParaRPr lang="en-US" altLang="zh-CN" sz="32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系统登录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2800" b="1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sz="2800" b="1">
                <a:solidFill>
                  <a:schemeClr val="bg1"/>
                </a:solidFill>
                <a:latin typeface="KaiTi" panose="02010609060101010101" pitchFamily="49" charset="-122"/>
                <a:ea typeface="KaiTi" panose="02010609060101010101" pitchFamily="49" charset="-122"/>
              </a:rPr>
              <a:t>质量控制</a:t>
            </a: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
模型配置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2800" b="1">
                <a:latin typeface="KaiTi" panose="02010609060101010101" pitchFamily="49" charset="-122"/>
                <a:ea typeface="KaiTi" panose="02010609060101010101" pitchFamily="49" charset="-122"/>
              </a:rPr>
              <a:t>历史记录</a:t>
            </a:r>
            <a:endParaRPr lang="en-US" altLang="zh-CN" sz="2800" b="1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804863" lvl="1" indent="-347663">
              <a:lnSpc>
                <a:spcPct val="150000"/>
              </a:lnSpc>
              <a:spcBef>
                <a:spcPts val="315"/>
              </a:spcBef>
              <a:buFont typeface="Arial" panose="020B0604020202020204" pitchFamily="34" charset="0"/>
              <a:buChar char="•"/>
              <a:defRPr/>
            </a:pPr>
            <a:endParaRPr lang="en-US" altLang="zh-CN" sz="4000" b="1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1AE1BB0-E247-4817-B434-F588EF5446CD}"/>
              </a:ext>
            </a:extLst>
          </p:cNvPr>
          <p:cNvSpPr txBox="1"/>
          <p:nvPr/>
        </p:nvSpPr>
        <p:spPr>
          <a:xfrm>
            <a:off x="5666342" y="125243"/>
            <a:ext cx="1219200" cy="12192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2CC36DB-7437-470B-8684-A62FEC3F8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54709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8159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596477-EFAC-45E0-B30B-B9CB1132B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8552" cy="443070"/>
          </a:xfrm>
        </p:spPr>
        <p:txBody>
          <a:bodyPr vert="horz" wrap="square" lIns="0" tIns="12065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质量控制（</a:t>
            </a:r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1/2</a:t>
            </a: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）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82C2BA-F8F2-477C-A0A2-56D4208C2A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6C6C6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old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6C6C6C">
                  <a:lumMod val="60000"/>
                  <a:lumOff val="40000"/>
                </a:srgbClr>
              </a:solidFill>
              <a:effectLst/>
              <a:uLnTx/>
              <a:uFillTx/>
              <a:latin typeface="Arial Bold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8C45494-200A-49A1-AC32-071035F87E51}"/>
              </a:ext>
            </a:extLst>
          </p:cNvPr>
          <p:cNvSpPr txBox="1">
            <a:spLocks/>
          </p:cNvSpPr>
          <p:nvPr/>
        </p:nvSpPr>
        <p:spPr>
          <a:xfrm>
            <a:off x="345018" y="1070069"/>
            <a:ext cx="3895512" cy="5345686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终端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电脑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/PAD</a:t>
            </a:r>
            <a:endParaRPr lang="en-US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菜单：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重量控制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角色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操作员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前提条件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N/A</a:t>
            </a:r>
            <a:endParaRPr lang="en-US" sz="2000" b="0">
              <a:latin typeface="+mn-lt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具体操作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点击‘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质量控制’；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检查模型状态，开始生产时系统状态应该从“结束”变成“开始”，模型开始进行重量控制；生产技术时，系统状态应该由“开始”变成“结束”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系统给出重量控制参数建议时，操作员需要确认参数推荐是否可行，参数推荐合理，点击“接受”，设备参数自动调整；点击“修改”，可对建议参数进行修改；系统推荐不合理，直接点击“拒绝”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37A8F67-1B69-43C3-D6BF-2A47A9A3C4A0}"/>
              </a:ext>
            </a:extLst>
          </p:cNvPr>
          <p:cNvGrpSpPr/>
          <p:nvPr/>
        </p:nvGrpSpPr>
        <p:grpSpPr>
          <a:xfrm>
            <a:off x="4240530" y="959593"/>
            <a:ext cx="7895467" cy="5216471"/>
            <a:chOff x="4396254" y="959593"/>
            <a:chExt cx="7739743" cy="521647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78293E6-BDCD-5E4E-2866-F26D92E737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96254" y="959593"/>
              <a:ext cx="7739743" cy="5216471"/>
            </a:xfrm>
            <a:prstGeom prst="rect">
              <a:avLst/>
            </a:prstGeom>
          </p:spPr>
        </p:pic>
        <p:sp>
          <p:nvSpPr>
            <p:cNvPr id="18" name="椭圆 128">
              <a:extLst>
                <a:ext uri="{FF2B5EF4-FFF2-40B4-BE49-F238E27FC236}">
                  <a16:creationId xmlns:a16="http://schemas.microsoft.com/office/drawing/2014/main" id="{32E1D440-DF09-1776-736C-3456E7D21568}"/>
                </a:ext>
              </a:extLst>
            </p:cNvPr>
            <p:cNvSpPr/>
            <p:nvPr/>
          </p:nvSpPr>
          <p:spPr>
            <a:xfrm>
              <a:off x="5232958" y="1393146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KaiTi" panose="02010609060101010101" pitchFamily="49" charset="-122"/>
                  <a:ea typeface="KaiTi" panose="02010609060101010101" pitchFamily="49" charset="-122"/>
                </a:rPr>
                <a:t>1</a:t>
              </a:r>
              <a:endParaRPr lang="zh-CN" altLang="en-US" b="1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9" name="椭圆 13">
              <a:extLst>
                <a:ext uri="{FF2B5EF4-FFF2-40B4-BE49-F238E27FC236}">
                  <a16:creationId xmlns:a16="http://schemas.microsoft.com/office/drawing/2014/main" id="{1DF4868A-1EFC-01E6-84A7-94D59135EB45}"/>
                </a:ext>
              </a:extLst>
            </p:cNvPr>
            <p:cNvSpPr/>
            <p:nvPr/>
          </p:nvSpPr>
          <p:spPr>
            <a:xfrm>
              <a:off x="10658408" y="134644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>
                  <a:latin typeface="KaiTi" panose="02010609060101010101" pitchFamily="49" charset="-122"/>
                  <a:ea typeface="KaiTi" panose="02010609060101010101" pitchFamily="49" charset="-122"/>
                </a:rPr>
                <a:t>2</a:t>
              </a:r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20" name="椭圆 6">
              <a:extLst>
                <a:ext uri="{FF2B5EF4-FFF2-40B4-BE49-F238E27FC236}">
                  <a16:creationId xmlns:a16="http://schemas.microsoft.com/office/drawing/2014/main" id="{82686E0E-D818-5031-56A1-2FF92334A771}"/>
                </a:ext>
              </a:extLst>
            </p:cNvPr>
            <p:cNvSpPr/>
            <p:nvPr/>
          </p:nvSpPr>
          <p:spPr>
            <a:xfrm>
              <a:off x="10379244" y="1917767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>
                  <a:latin typeface="KaiTi" panose="02010609060101010101" pitchFamily="49" charset="-122"/>
                  <a:ea typeface="KaiTi" panose="02010609060101010101" pitchFamily="49" charset="-122"/>
                </a:rPr>
                <a:t>3</a:t>
              </a:r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21" name="椭圆 7">
              <a:extLst>
                <a:ext uri="{FF2B5EF4-FFF2-40B4-BE49-F238E27FC236}">
                  <a16:creationId xmlns:a16="http://schemas.microsoft.com/office/drawing/2014/main" id="{A78F58DE-3EA5-97D8-B23D-0546D3F71B03}"/>
                </a:ext>
              </a:extLst>
            </p:cNvPr>
            <p:cNvSpPr/>
            <p:nvPr/>
          </p:nvSpPr>
          <p:spPr>
            <a:xfrm>
              <a:off x="5969485" y="2291391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KaiTi" panose="02010609060101010101" pitchFamily="49" charset="-122"/>
                  <a:ea typeface="KaiTi" panose="02010609060101010101" pitchFamily="49" charset="-122"/>
                </a:rPr>
                <a:t>4</a:t>
              </a:r>
              <a:endParaRPr lang="zh-CN" altLang="en-US" b="1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22" name="椭圆 8">
              <a:extLst>
                <a:ext uri="{FF2B5EF4-FFF2-40B4-BE49-F238E27FC236}">
                  <a16:creationId xmlns:a16="http://schemas.microsoft.com/office/drawing/2014/main" id="{66768FED-866A-0E0E-6B58-70D417F11922}"/>
                </a:ext>
              </a:extLst>
            </p:cNvPr>
            <p:cNvSpPr/>
            <p:nvPr/>
          </p:nvSpPr>
          <p:spPr>
            <a:xfrm>
              <a:off x="5916455" y="4710143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KaiTi" panose="02010609060101010101" pitchFamily="49" charset="-122"/>
                  <a:ea typeface="KaiTi" panose="02010609060101010101" pitchFamily="49" charset="-122"/>
                </a:rPr>
                <a:t>5</a:t>
              </a:r>
              <a:endParaRPr lang="zh-CN" altLang="en-US" b="1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23" name="椭圆 9">
              <a:extLst>
                <a:ext uri="{FF2B5EF4-FFF2-40B4-BE49-F238E27FC236}">
                  <a16:creationId xmlns:a16="http://schemas.microsoft.com/office/drawing/2014/main" id="{6040FD12-B1C2-DA6F-62F3-123C60C035FF}"/>
                </a:ext>
              </a:extLst>
            </p:cNvPr>
            <p:cNvSpPr/>
            <p:nvPr/>
          </p:nvSpPr>
          <p:spPr>
            <a:xfrm>
              <a:off x="7433438" y="2575755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KaiTi" panose="02010609060101010101" pitchFamily="49" charset="-122"/>
                  <a:ea typeface="KaiTi" panose="02010609060101010101" pitchFamily="49" charset="-122"/>
                </a:rPr>
                <a:t>6</a:t>
              </a:r>
              <a:endParaRPr lang="zh-CN" altLang="en-US" b="1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78923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596477-EFAC-45E0-B30B-B9CB1132B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8" y="332076"/>
            <a:ext cx="11498552" cy="443070"/>
          </a:xfrm>
        </p:spPr>
        <p:txBody>
          <a:bodyPr vert="horz" wrap="square" lIns="0" tIns="12065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质量控制（</a:t>
            </a:r>
            <a:r>
              <a:rPr lang="en-US" altLang="zh-CN" b="1">
                <a:latin typeface="KaiTi" panose="02010609060101010101" pitchFamily="49" charset="-122"/>
                <a:ea typeface="KaiTi" panose="02010609060101010101" pitchFamily="49" charset="-122"/>
              </a:rPr>
              <a:t>2/2</a:t>
            </a:r>
            <a:r>
              <a:rPr lang="zh-CN" altLang="en-US" b="1">
                <a:latin typeface="KaiTi" panose="02010609060101010101" pitchFamily="49" charset="-122"/>
                <a:ea typeface="KaiTi" panose="02010609060101010101" pitchFamily="49" charset="-122"/>
              </a:rPr>
              <a:t>）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82C2BA-F8F2-477C-A0A2-56D4208C2A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6C6C6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old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6C6C6C">
                  <a:lumMod val="60000"/>
                  <a:lumOff val="40000"/>
                </a:srgbClr>
              </a:solidFill>
              <a:effectLst/>
              <a:uLnTx/>
              <a:uFillTx/>
              <a:latin typeface="Arial Bold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8C45494-200A-49A1-AC32-071035F87E51}"/>
              </a:ext>
            </a:extLst>
          </p:cNvPr>
          <p:cNvSpPr txBox="1">
            <a:spLocks/>
          </p:cNvSpPr>
          <p:nvPr/>
        </p:nvSpPr>
        <p:spPr>
          <a:xfrm>
            <a:off x="345018" y="1070069"/>
            <a:ext cx="3895512" cy="5345686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终端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电脑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/PAD</a:t>
            </a:r>
            <a:endParaRPr lang="en-US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菜单：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Gum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重量控制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操作角色：</a:t>
            </a: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操作员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前提条件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 </a:t>
            </a:r>
            <a:r>
              <a:rPr lang="en-US" altLang="zh-CN" sz="2000" b="0">
                <a:latin typeface="KaiTi" panose="02010609060101010101" pitchFamily="49" charset="-122"/>
                <a:ea typeface="KaiTi" panose="02010609060101010101" pitchFamily="49" charset="-122"/>
              </a:rPr>
              <a:t>N/A</a:t>
            </a:r>
            <a:endParaRPr lang="en-US" sz="2000" b="0">
              <a:latin typeface="+mn-lt"/>
              <a:ea typeface="KaiTi" panose="02010609060101010101" pitchFamily="49" charset="-122"/>
            </a:endParaRPr>
          </a:p>
          <a:p>
            <a:pPr>
              <a:lnSpc>
                <a:spcPct val="100000"/>
              </a:lnSpc>
            </a:pPr>
            <a:r>
              <a:rPr lang="zh-CN" altLang="en-US" sz="2000">
                <a:latin typeface="KaiTi" panose="02010609060101010101" pitchFamily="49" charset="-122"/>
                <a:ea typeface="KaiTi" panose="02010609060101010101" pitchFamily="49" charset="-122"/>
              </a:rPr>
              <a:t>具体操作</a:t>
            </a:r>
            <a:r>
              <a:rPr lang="en-US" sz="2000">
                <a:latin typeface="KaiTi" panose="02010609060101010101" pitchFamily="49" charset="-122"/>
                <a:ea typeface="KaiTi" panose="02010609060101010101" pitchFamily="49" charset="-122"/>
              </a:rPr>
              <a:t>: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 startAt="4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事件通知：操作员对设备和系统进行操作时，事件会显示在事件通知栏内，并在系统内形成历史记录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 startAt="4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异常告警：设备和系统出现异常时，系统会提醒操作员注意，是否需要人工进行干预，防止设备和系统影响生产，保证生产稳定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 startAt="4"/>
            </a:pPr>
            <a:r>
              <a:rPr lang="zh-CN" altLang="en-US" sz="2000" b="0">
                <a:latin typeface="KaiTi" panose="02010609060101010101" pitchFamily="49" charset="-122"/>
                <a:ea typeface="KaiTi" panose="02010609060101010101" pitchFamily="49" charset="-122"/>
              </a:rPr>
              <a:t>系统会记录产品的重量 ，长度，宽度，深度，厚度等信息，进行趋势分析</a:t>
            </a:r>
            <a:endParaRPr lang="en-US" altLang="zh-CN" sz="2000" b="0">
              <a:latin typeface="KaiTi" panose="02010609060101010101" pitchFamily="49" charset="-122"/>
              <a:ea typeface="KaiTi" panose="02010609060101010101" pitchFamily="49" charset="-122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D1E3A9D-5F67-FBFD-38FC-B622C4566722}"/>
              </a:ext>
            </a:extLst>
          </p:cNvPr>
          <p:cNvGrpSpPr/>
          <p:nvPr/>
        </p:nvGrpSpPr>
        <p:grpSpPr>
          <a:xfrm>
            <a:off x="4240530" y="959593"/>
            <a:ext cx="7895467" cy="5216471"/>
            <a:chOff x="4396254" y="959593"/>
            <a:chExt cx="7739743" cy="521647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30673C7-568A-3C4E-414C-5AB90CF84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96254" y="959593"/>
              <a:ext cx="7739743" cy="5216471"/>
            </a:xfrm>
            <a:prstGeom prst="rect">
              <a:avLst/>
            </a:prstGeom>
          </p:spPr>
        </p:pic>
        <p:sp>
          <p:nvSpPr>
            <p:cNvPr id="11" name="椭圆 128">
              <a:extLst>
                <a:ext uri="{FF2B5EF4-FFF2-40B4-BE49-F238E27FC236}">
                  <a16:creationId xmlns:a16="http://schemas.microsoft.com/office/drawing/2014/main" id="{298E83EC-9A62-E9EF-32EF-EA213928209B}"/>
                </a:ext>
              </a:extLst>
            </p:cNvPr>
            <p:cNvSpPr/>
            <p:nvPr/>
          </p:nvSpPr>
          <p:spPr>
            <a:xfrm>
              <a:off x="5232958" y="1393146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KaiTi" panose="02010609060101010101" pitchFamily="49" charset="-122"/>
                  <a:ea typeface="KaiTi" panose="02010609060101010101" pitchFamily="49" charset="-122"/>
                </a:rPr>
                <a:t>1</a:t>
              </a:r>
              <a:endParaRPr lang="zh-CN" altLang="en-US" b="1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2" name="椭圆 13">
              <a:extLst>
                <a:ext uri="{FF2B5EF4-FFF2-40B4-BE49-F238E27FC236}">
                  <a16:creationId xmlns:a16="http://schemas.microsoft.com/office/drawing/2014/main" id="{97DAE1AC-B250-6477-B403-EBB6CEC648C6}"/>
                </a:ext>
              </a:extLst>
            </p:cNvPr>
            <p:cNvSpPr/>
            <p:nvPr/>
          </p:nvSpPr>
          <p:spPr>
            <a:xfrm>
              <a:off x="10658408" y="1346442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>
                  <a:latin typeface="KaiTi" panose="02010609060101010101" pitchFamily="49" charset="-122"/>
                  <a:ea typeface="KaiTi" panose="02010609060101010101" pitchFamily="49" charset="-122"/>
                </a:rPr>
                <a:t>2</a:t>
              </a:r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3" name="椭圆 6">
              <a:extLst>
                <a:ext uri="{FF2B5EF4-FFF2-40B4-BE49-F238E27FC236}">
                  <a16:creationId xmlns:a16="http://schemas.microsoft.com/office/drawing/2014/main" id="{446B5977-5ECA-4B09-D74B-BB715CD414EA}"/>
                </a:ext>
              </a:extLst>
            </p:cNvPr>
            <p:cNvSpPr/>
            <p:nvPr/>
          </p:nvSpPr>
          <p:spPr>
            <a:xfrm>
              <a:off x="10379244" y="1917767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>
                  <a:latin typeface="KaiTi" panose="02010609060101010101" pitchFamily="49" charset="-122"/>
                  <a:ea typeface="KaiTi" panose="02010609060101010101" pitchFamily="49" charset="-122"/>
                </a:rPr>
                <a:t>3</a:t>
              </a:r>
              <a:endParaRPr lang="zh-CN" altLang="en-US" b="1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5" name="椭圆 7">
              <a:extLst>
                <a:ext uri="{FF2B5EF4-FFF2-40B4-BE49-F238E27FC236}">
                  <a16:creationId xmlns:a16="http://schemas.microsoft.com/office/drawing/2014/main" id="{A7DECF52-689B-40FD-ED16-C7E1AB685121}"/>
                </a:ext>
              </a:extLst>
            </p:cNvPr>
            <p:cNvSpPr/>
            <p:nvPr/>
          </p:nvSpPr>
          <p:spPr>
            <a:xfrm>
              <a:off x="5969485" y="2291391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KaiTi" panose="02010609060101010101" pitchFamily="49" charset="-122"/>
                  <a:ea typeface="KaiTi" panose="02010609060101010101" pitchFamily="49" charset="-122"/>
                </a:rPr>
                <a:t>4</a:t>
              </a:r>
              <a:endParaRPr lang="zh-CN" altLang="en-US" b="1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6" name="椭圆 8">
              <a:extLst>
                <a:ext uri="{FF2B5EF4-FFF2-40B4-BE49-F238E27FC236}">
                  <a16:creationId xmlns:a16="http://schemas.microsoft.com/office/drawing/2014/main" id="{085F38E6-E1E8-C9CA-4B9A-CF3842105FF6}"/>
                </a:ext>
              </a:extLst>
            </p:cNvPr>
            <p:cNvSpPr/>
            <p:nvPr/>
          </p:nvSpPr>
          <p:spPr>
            <a:xfrm>
              <a:off x="5916455" y="4710143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KaiTi" panose="02010609060101010101" pitchFamily="49" charset="-122"/>
                  <a:ea typeface="KaiTi" panose="02010609060101010101" pitchFamily="49" charset="-122"/>
                </a:rPr>
                <a:t>5</a:t>
              </a:r>
              <a:endParaRPr lang="zh-CN" altLang="en-US" b="1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  <p:sp>
          <p:nvSpPr>
            <p:cNvPr id="17" name="椭圆 9">
              <a:extLst>
                <a:ext uri="{FF2B5EF4-FFF2-40B4-BE49-F238E27FC236}">
                  <a16:creationId xmlns:a16="http://schemas.microsoft.com/office/drawing/2014/main" id="{08E7E0D0-25E9-7D7B-C0B7-7188B327F0A4}"/>
                </a:ext>
              </a:extLst>
            </p:cNvPr>
            <p:cNvSpPr/>
            <p:nvPr/>
          </p:nvSpPr>
          <p:spPr>
            <a:xfrm>
              <a:off x="7433438" y="2575755"/>
              <a:ext cx="308610" cy="32937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KaiTi" panose="02010609060101010101" pitchFamily="49" charset="-122"/>
                  <a:ea typeface="KaiTi" panose="02010609060101010101" pitchFamily="49" charset="-122"/>
                </a:rPr>
                <a:t>6</a:t>
              </a:r>
              <a:endParaRPr lang="zh-CN" altLang="en-US" b="1" dirty="0">
                <a:latin typeface="KaiTi" panose="02010609060101010101" pitchFamily="49" charset="-122"/>
                <a:ea typeface="KaiTi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3221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sMSM.QdmANAfXX5aijw"/>
</p:tagLst>
</file>

<file path=ppt/theme/theme1.xml><?xml version="1.0" encoding="utf-8"?>
<a:theme xmlns:a="http://schemas.openxmlformats.org/drawingml/2006/main" name="6_Titles">
  <a:themeElements>
    <a:clrScheme name="Custom 1">
      <a:dk1>
        <a:srgbClr val="000000"/>
      </a:dk1>
      <a:lt1>
        <a:srgbClr val="FFFFFF"/>
      </a:lt1>
      <a:dk2>
        <a:srgbClr val="BDBDBD"/>
      </a:dk2>
      <a:lt2>
        <a:srgbClr val="969696"/>
      </a:lt2>
      <a:accent1>
        <a:srgbClr val="A000FF"/>
      </a:accent1>
      <a:accent2>
        <a:srgbClr val="7400C0"/>
      </a:accent2>
      <a:accent3>
        <a:srgbClr val="450073"/>
      </a:accent3>
      <a:accent4>
        <a:srgbClr val="00BAFF"/>
      </a:accent4>
      <a:accent5>
        <a:srgbClr val="008EFF"/>
      </a:accent5>
      <a:accent6>
        <a:srgbClr val="004CFF"/>
      </a:accent6>
      <a:hlink>
        <a:srgbClr val="7400C0"/>
      </a:hlink>
      <a:folHlink>
        <a:srgbClr val="450073"/>
      </a:folHlink>
    </a:clrScheme>
    <a:fontScheme name="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8" id="{11E111F5-4386-3F41-AE75-A4D161DC0708}" vid="{63D75203-C382-6543-A003-1BF0044271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01343112BBDF4FB661479EE91D27C7" ma:contentTypeVersion="11" ma:contentTypeDescription="Create a new document." ma:contentTypeScope="" ma:versionID="26805a1b718ff78340340eb55c761be2">
  <xsd:schema xmlns:xsd="http://www.w3.org/2001/XMLSchema" xmlns:xs="http://www.w3.org/2001/XMLSchema" xmlns:p="http://schemas.microsoft.com/office/2006/metadata/properties" xmlns:ns2="592d3804-afe4-4f36-a41a-bf2abbb6d3b0" xmlns:ns3="63f3e56f-7e91-4615-a50b-2c846edf9310" targetNamespace="http://schemas.microsoft.com/office/2006/metadata/properties" ma:root="true" ma:fieldsID="dbcd4da0e398d357408a245b9519e57c" ns2:_="" ns3:_="">
    <xsd:import namespace="592d3804-afe4-4f36-a41a-bf2abbb6d3b0"/>
    <xsd:import namespace="63f3e56f-7e91-4615-a50b-2c846edf93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2d3804-afe4-4f36-a41a-bf2abbb6d3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354e7d8-0354-4d30-9ae3-65c479a624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f3e56f-7e91-4615-a50b-2c846edf931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e330814-59e5-46ee-ad65-73abdcaed00d}" ma:internalName="TaxCatchAll" ma:showField="CatchAllData" ma:web="63f3e56f-7e91-4615-a50b-2c846edf931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3f3e56f-7e91-4615-a50b-2c846edf9310" xsi:nil="true"/>
    <lcf76f155ced4ddcb4097134ff3c332f xmlns="592d3804-afe4-4f36-a41a-bf2abbb6d3b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78B214-85B2-4477-B03C-A5B410B513E2}">
  <ds:schemaRefs>
    <ds:schemaRef ds:uri="592d3804-afe4-4f36-a41a-bf2abbb6d3b0"/>
    <ds:schemaRef ds:uri="63f3e56f-7e91-4615-a50b-2c846edf931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DDBD20E-7143-4E33-B665-B409040EDD32}">
  <ds:schemaRefs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592d3804-afe4-4f36-a41a-bf2abbb6d3b0"/>
    <ds:schemaRef ds:uri="63f3e56f-7e91-4615-a50b-2c846edf931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E01343A-0F0D-4E41-8298-51B00C3074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07</Words>
  <Application>Microsoft Office PowerPoint</Application>
  <PresentationFormat>Widescreen</PresentationFormat>
  <Paragraphs>218</Paragraphs>
  <Slides>1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 MT</vt:lpstr>
      <vt:lpstr>等线</vt:lpstr>
      <vt:lpstr>KaiTi</vt:lpstr>
      <vt:lpstr>微软雅黑</vt:lpstr>
      <vt:lpstr>Arial</vt:lpstr>
      <vt:lpstr>Arial Black</vt:lpstr>
      <vt:lpstr>Arial Bold</vt:lpstr>
      <vt:lpstr>Calibri</vt:lpstr>
      <vt:lpstr>Graphik</vt:lpstr>
      <vt:lpstr>Graphik Black</vt:lpstr>
      <vt:lpstr>6_Titles</vt:lpstr>
      <vt:lpstr>think-cell Slide</vt:lpstr>
      <vt:lpstr>ACCENTURE INDUSTRY X</vt:lpstr>
      <vt:lpstr>PowerPoint Presentation</vt:lpstr>
      <vt:lpstr>PowerPoint Presentation</vt:lpstr>
      <vt:lpstr>PowerPoint Presentation</vt:lpstr>
      <vt:lpstr>PowerPoint Presentation</vt:lpstr>
      <vt:lpstr>系统登陆</vt:lpstr>
      <vt:lpstr>PowerPoint Presentation</vt:lpstr>
      <vt:lpstr>Gum质量控制（1/2）</vt:lpstr>
      <vt:lpstr>Gum质量控制（2/2）</vt:lpstr>
      <vt:lpstr>PowerPoint Presentation</vt:lpstr>
      <vt:lpstr>模型配置（1/4）</vt:lpstr>
      <vt:lpstr>模型配置（2/4）</vt:lpstr>
      <vt:lpstr>模型配置（3/4）</vt:lpstr>
      <vt:lpstr>模型配置（4/4）</vt:lpstr>
      <vt:lpstr>PowerPoint Presentation</vt:lpstr>
      <vt:lpstr>历史数据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数字化研发未来3年项目落地路径</dc:title>
  <dc:creator>Zheng, Jayson Wei</dc:creator>
  <cp:lastModifiedBy>Wang, Yuanchen, Klein</cp:lastModifiedBy>
  <cp:revision>1</cp:revision>
  <dcterms:created xsi:type="dcterms:W3CDTF">2020-05-18T11:09:29Z</dcterms:created>
  <dcterms:modified xsi:type="dcterms:W3CDTF">2024-09-27T10:4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201343112BBDF4FB661479EE91D27C7</vt:lpwstr>
  </property>
  <property fmtid="{D5CDD505-2E9C-101B-9397-08002B2CF9AE}" pid="3" name="MediaServiceImageTags">
    <vt:lpwstr/>
  </property>
</Properties>
</file>